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67" r:id="rId1"/>
    <p:sldMasterId id="2147484760" r:id="rId2"/>
    <p:sldMasterId id="2147484796" r:id="rId3"/>
    <p:sldMasterId id="2147484832" r:id="rId4"/>
    <p:sldMasterId id="2147484868" r:id="rId5"/>
    <p:sldMasterId id="2147484904" r:id="rId6"/>
    <p:sldMasterId id="2147484940" r:id="rId7"/>
  </p:sldMasterIdLst>
  <p:notesMasterIdLst>
    <p:notesMasterId r:id="rId24"/>
  </p:notesMasterIdLst>
  <p:handoutMasterIdLst>
    <p:handoutMasterId r:id="rId25"/>
  </p:handoutMasterIdLst>
  <p:sldIdLst>
    <p:sldId id="258" r:id="rId8"/>
    <p:sldId id="339" r:id="rId9"/>
    <p:sldId id="259" r:id="rId10"/>
    <p:sldId id="816" r:id="rId11"/>
    <p:sldId id="814" r:id="rId12"/>
    <p:sldId id="810" r:id="rId13"/>
    <p:sldId id="815" r:id="rId14"/>
    <p:sldId id="817" r:id="rId15"/>
    <p:sldId id="818" r:id="rId16"/>
    <p:sldId id="809" r:id="rId17"/>
    <p:sldId id="511" r:id="rId18"/>
    <p:sldId id="418" r:id="rId19"/>
    <p:sldId id="803" r:id="rId20"/>
    <p:sldId id="802" r:id="rId21"/>
    <p:sldId id="808" r:id="rId22"/>
    <p:sldId id="807" r:id="rId23"/>
  </p:sldIdLst>
  <p:sldSz cx="9215438" cy="5184775"/>
  <p:notesSz cx="6805613" cy="9939338"/>
  <p:custDataLst>
    <p:tags r:id="rId26"/>
  </p:custDataLst>
  <p:defaultTextStyle>
    <a:defPPr>
      <a:defRPr lang="en-US"/>
    </a:defPPr>
    <a:lvl1pPr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1pPr>
    <a:lvl2pPr marL="459121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2pPr>
    <a:lvl3pPr marL="91984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3pPr>
    <a:lvl4pPr marL="138056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4pPr>
    <a:lvl5pPr marL="1841283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5pPr>
    <a:lvl6pPr marL="2303602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6pPr>
    <a:lvl7pPr marL="276432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7pPr>
    <a:lvl8pPr marL="322504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8pPr>
    <a:lvl9pPr marL="3685764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le Slides" id="{C38F09E5-434C-4C86-A253-07E9B630289B}">
          <p14:sldIdLst>
            <p14:sldId id="258"/>
            <p14:sldId id="339"/>
            <p14:sldId id="259"/>
            <p14:sldId id="816"/>
            <p14:sldId id="814"/>
            <p14:sldId id="810"/>
            <p14:sldId id="815"/>
            <p14:sldId id="817"/>
            <p14:sldId id="818"/>
            <p14:sldId id="809"/>
            <p14:sldId id="511"/>
            <p14:sldId id="418"/>
          </p14:sldIdLst>
        </p14:section>
        <p14:section name="REFERENCES" id="{88508D9C-F6AC-F84F-9A5F-4800ADA716FF}">
          <p14:sldIdLst>
            <p14:sldId id="803"/>
            <p14:sldId id="802"/>
            <p14:sldId id="808"/>
            <p14:sldId id="807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1996" userDrawn="1">
          <p15:clr>
            <a:srgbClr val="A4A3A4"/>
          </p15:clr>
        </p15:guide>
        <p15:guide id="10" orient="horz" pos="1814" userDrawn="1">
          <p15:clr>
            <a:srgbClr val="A4A3A4"/>
          </p15:clr>
        </p15:guide>
        <p15:guide id="13" orient="horz" pos="2540" userDrawn="1">
          <p15:clr>
            <a:srgbClr val="A4A3A4"/>
          </p15:clr>
        </p15:guide>
        <p15:guide id="20" pos="3628" userDrawn="1">
          <p15:clr>
            <a:srgbClr val="A4A3A4"/>
          </p15:clr>
        </p15:guide>
        <p15:guide id="36" pos="4331" userDrawn="1">
          <p15:clr>
            <a:srgbClr val="A4A3A4"/>
          </p15:clr>
        </p15:guide>
        <p15:guide id="39" pos="5420" userDrawn="1">
          <p15:clr>
            <a:srgbClr val="A4A3A4"/>
          </p15:clr>
        </p15:guide>
        <p15:guide id="51" pos="181" userDrawn="1">
          <p15:clr>
            <a:srgbClr val="A4A3A4"/>
          </p15:clr>
        </p15:guide>
        <p15:guide id="53" orient="horz" pos="907">
          <p15:clr>
            <a:srgbClr val="A4A3A4"/>
          </p15:clr>
        </p15:guide>
        <p15:guide id="55" orient="horz" pos="386" userDrawn="1">
          <p15:clr>
            <a:srgbClr val="A4A3A4"/>
          </p15:clr>
        </p15:guide>
        <p15:guide id="56" orient="horz" pos="1111" userDrawn="1">
          <p15:clr>
            <a:srgbClr val="A4A3A4"/>
          </p15:clr>
        </p15:guide>
        <p15:guide id="58" orient="horz" pos="2132" userDrawn="1">
          <p15:clr>
            <a:srgbClr val="A4A3A4"/>
          </p15:clr>
        </p15:guide>
        <p15:guide id="60" orient="horz" pos="2359" userDrawn="1">
          <p15:clr>
            <a:srgbClr val="A4A3A4"/>
          </p15:clr>
        </p15:guide>
        <p15:guide id="61" orient="horz" pos="2722">
          <p15:clr>
            <a:srgbClr val="A4A3A4"/>
          </p15:clr>
        </p15:guide>
        <p15:guide id="62" orient="horz" pos="2880" userDrawn="1">
          <p15:clr>
            <a:srgbClr val="A4A3A4"/>
          </p15:clr>
        </p15:guide>
        <p15:guide id="63" orient="horz" pos="182" userDrawn="1">
          <p15:clr>
            <a:srgbClr val="A4A3A4"/>
          </p15:clr>
        </p15:guide>
        <p15:guide id="64" orient="horz" pos="1656" userDrawn="1">
          <p15:clr>
            <a:srgbClr val="A4A3A4"/>
          </p15:clr>
        </p15:guide>
        <p15:guide id="65" orient="horz" pos="476" userDrawn="1">
          <p15:clr>
            <a:srgbClr val="A4A3A4"/>
          </p15:clr>
        </p15:guide>
        <p15:guide id="66" orient="horz" pos="1270">
          <p15:clr>
            <a:srgbClr val="A4A3A4"/>
          </p15:clr>
        </p15:guide>
        <p15:guide id="67" orient="horz" pos="1474" userDrawn="1">
          <p15:clr>
            <a:srgbClr val="A4A3A4"/>
          </p15:clr>
        </p15:guide>
        <p15:guide id="71" pos="3424" userDrawn="1">
          <p15:clr>
            <a:srgbClr val="A4A3A4"/>
          </p15:clr>
        </p15:guide>
        <p15:guide id="72" pos="4513" userDrawn="1">
          <p15:clr>
            <a:srgbClr val="A4A3A4"/>
          </p15:clr>
        </p15:guide>
        <p15:guide id="73" pos="4717" userDrawn="1">
          <p15:clr>
            <a:srgbClr val="A4A3A4"/>
          </p15:clr>
        </p15:guide>
        <p15:guide id="75" pos="725" userDrawn="1">
          <p15:clr>
            <a:srgbClr val="A4A3A4"/>
          </p15:clr>
        </p15:guide>
        <p15:guide id="79" pos="1632">
          <p15:clr>
            <a:srgbClr val="A4A3A4"/>
          </p15:clr>
        </p15:guide>
        <p15:guide id="82" pos="2336" userDrawn="1">
          <p15:clr>
            <a:srgbClr val="A4A3A4"/>
          </p15:clr>
        </p15:guide>
        <p15:guide id="83" pos="3061" userDrawn="1">
          <p15:clr>
            <a:srgbClr val="A4A3A4"/>
          </p15:clr>
        </p15:guide>
        <p15:guide id="84" pos="3265">
          <p15:clr>
            <a:srgbClr val="A4A3A4"/>
          </p15:clr>
        </p15:guide>
        <p15:guide id="87" pos="3991">
          <p15:clr>
            <a:srgbClr val="A4A3A4"/>
          </p15:clr>
        </p15:guide>
        <p15:guide id="88" pos="4195" userDrawn="1">
          <p15:clr>
            <a:srgbClr val="A4A3A4"/>
          </p15:clr>
        </p15:guide>
        <p15:guide id="90" pos="4898">
          <p15:clr>
            <a:srgbClr val="A4A3A4"/>
          </p15:clr>
        </p15:guide>
        <p15:guide id="91" pos="5057" userDrawn="1">
          <p15:clr>
            <a:srgbClr val="A4A3A4"/>
          </p15:clr>
        </p15:guide>
        <p15:guide id="93" pos="2608" userDrawn="1">
          <p15:clr>
            <a:srgbClr val="A4A3A4"/>
          </p15:clr>
        </p15:guide>
        <p15:guide id="96" pos="5260">
          <p15:clr>
            <a:srgbClr val="A4A3A4"/>
          </p15:clr>
        </p15:guide>
        <p15:guide id="98" pos="5624" userDrawn="1">
          <p15:clr>
            <a:srgbClr val="A4A3A4"/>
          </p15:clr>
        </p15:guide>
        <p15:guide id="99" pos="1088" userDrawn="1">
          <p15:clr>
            <a:srgbClr val="A4A3A4"/>
          </p15:clr>
        </p15:guide>
        <p15:guide id="100" pos="1995" userDrawn="1">
          <p15:clr>
            <a:srgbClr val="A4A3A4"/>
          </p15:clr>
        </p15:guide>
        <p15:guide id="101" pos="2721" userDrawn="1">
          <p15:clr>
            <a:srgbClr val="A4A3A4"/>
          </p15:clr>
        </p15:guide>
        <p15:guide id="103" pos="1769" userDrawn="1">
          <p15:clr>
            <a:srgbClr val="A4A3A4"/>
          </p15:clr>
        </p15:guide>
        <p15:guide id="104" orient="horz" pos="3062" userDrawn="1">
          <p15:clr>
            <a:srgbClr val="A4A3A4"/>
          </p15:clr>
        </p15:guide>
        <p15:guide id="106" pos="3810" userDrawn="1">
          <p15:clr>
            <a:srgbClr val="A4A3A4"/>
          </p15:clr>
        </p15:guide>
        <p15:guide id="108" pos="2902">
          <p15:clr>
            <a:srgbClr val="A4A3A4"/>
          </p15:clr>
        </p15:guide>
        <p15:guide id="109" pos="2177" userDrawn="1">
          <p15:clr>
            <a:srgbClr val="A4A3A4"/>
          </p15:clr>
        </p15:guide>
        <p15:guide id="110" orient="horz" pos="3084">
          <p15:clr>
            <a:srgbClr val="A4A3A4"/>
          </p15:clr>
        </p15:guide>
        <p15:guide id="111" pos="362">
          <p15:clr>
            <a:srgbClr val="A4A3A4"/>
          </p15:clr>
        </p15:guide>
        <p15:guide id="112" pos="907" userDrawn="1">
          <p15:clr>
            <a:srgbClr val="A4A3A4"/>
          </p15:clr>
        </p15:guide>
        <p15:guide id="113" pos="1270" userDrawn="1">
          <p15:clr>
            <a:srgbClr val="A4A3A4"/>
          </p15:clr>
        </p15:guide>
        <p15:guide id="114" pos="566" userDrawn="1">
          <p15:clr>
            <a:srgbClr val="A4A3A4"/>
          </p15:clr>
        </p15:guide>
        <p15:guide id="115" pos="2539">
          <p15:clr>
            <a:srgbClr val="A4A3A4"/>
          </p15:clr>
        </p15:guide>
        <p15:guide id="116" pos="18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4">
          <p15:clr>
            <a:srgbClr val="A4A3A4"/>
          </p15:clr>
        </p15:guide>
        <p15:guide id="2" orient="horz" pos="2491">
          <p15:clr>
            <a:srgbClr val="A4A3A4"/>
          </p15:clr>
        </p15:guide>
        <p15:guide id="3" orient="horz" pos="2712">
          <p15:clr>
            <a:srgbClr val="A4A3A4"/>
          </p15:clr>
        </p15:guide>
        <p15:guide id="4" orient="horz" pos="6082">
          <p15:clr>
            <a:srgbClr val="A4A3A4"/>
          </p15:clr>
        </p15:guide>
        <p15:guide id="5" pos="197">
          <p15:clr>
            <a:srgbClr val="A4A3A4"/>
          </p15:clr>
        </p15:guide>
        <p15:guide id="6" pos="4088">
          <p15:clr>
            <a:srgbClr val="A4A3A4"/>
          </p15:clr>
        </p15:guide>
        <p15:guide id="7" pos="3013">
          <p15:clr>
            <a:srgbClr val="A4A3A4"/>
          </p15:clr>
        </p15:guide>
        <p15:guide id="8" pos="279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82C3"/>
    <a:srgbClr val="FFC000"/>
    <a:srgbClr val="FF3BE0"/>
    <a:srgbClr val="FFAF14"/>
    <a:srgbClr val="FF9300"/>
    <a:srgbClr val="ECEC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66D789-431E-B64A-A60E-D0AD5E2AEE70}" v="441" dt="2019-03-22T16:22:03.806"/>
    <p1510:client id="{EC873775-63E3-F745-86AD-FE1173B5F5A9}" v="437" dt="2019-03-22T15:07:05.5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006" autoAdjust="0"/>
    <p:restoredTop sz="80633" autoAdjust="0"/>
  </p:normalViewPr>
  <p:slideViewPr>
    <p:cSldViewPr snapToGrid="0" snapToObjects="1" showGuides="1">
      <p:cViewPr varScale="1">
        <p:scale>
          <a:sx n="77" d="100"/>
          <a:sy n="77" d="100"/>
        </p:scale>
        <p:origin x="1494" y="72"/>
      </p:cViewPr>
      <p:guideLst>
        <p:guide orient="horz" pos="1996"/>
        <p:guide orient="horz" pos="1814"/>
        <p:guide orient="horz" pos="2540"/>
        <p:guide pos="3628"/>
        <p:guide pos="4331"/>
        <p:guide pos="5420"/>
        <p:guide pos="181"/>
        <p:guide orient="horz" pos="907"/>
        <p:guide orient="horz" pos="386"/>
        <p:guide orient="horz" pos="1111"/>
        <p:guide orient="horz" pos="2132"/>
        <p:guide orient="horz" pos="2359"/>
        <p:guide orient="horz" pos="2722"/>
        <p:guide orient="horz" pos="2880"/>
        <p:guide orient="horz" pos="182"/>
        <p:guide orient="horz" pos="1656"/>
        <p:guide orient="horz" pos="476"/>
        <p:guide orient="horz" pos="1270"/>
        <p:guide orient="horz" pos="1474"/>
        <p:guide pos="3424"/>
        <p:guide pos="4513"/>
        <p:guide pos="4717"/>
        <p:guide pos="725"/>
        <p:guide pos="1632"/>
        <p:guide pos="2336"/>
        <p:guide pos="3061"/>
        <p:guide pos="3265"/>
        <p:guide pos="3991"/>
        <p:guide pos="4195"/>
        <p:guide pos="4898"/>
        <p:guide pos="5057"/>
        <p:guide pos="2608"/>
        <p:guide pos="5260"/>
        <p:guide pos="5624"/>
        <p:guide pos="1088"/>
        <p:guide pos="1995"/>
        <p:guide pos="2721"/>
        <p:guide pos="1769"/>
        <p:guide orient="horz" pos="3062"/>
        <p:guide pos="3810"/>
        <p:guide pos="2902"/>
        <p:guide pos="2177"/>
        <p:guide orient="horz" pos="3084"/>
        <p:guide pos="362"/>
        <p:guide pos="907"/>
        <p:guide pos="1270"/>
        <p:guide pos="566"/>
        <p:guide pos="2539"/>
        <p:guide pos="18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>
        <p:scale>
          <a:sx n="75" d="100"/>
          <a:sy n="75" d="100"/>
        </p:scale>
        <p:origin x="4792" y="680"/>
      </p:cViewPr>
      <p:guideLst>
        <p:guide orient="horz" pos="274"/>
        <p:guide orient="horz" pos="2491"/>
        <p:guide orient="horz" pos="2712"/>
        <p:guide orient="horz" pos="6082"/>
        <p:guide pos="197"/>
        <p:guide pos="4088"/>
        <p:guide pos="3013"/>
        <p:guide pos="279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notesMaster" Target="notesMasters/notesMaster1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echoso, Javier" userId="0727bfb3-dfc8-454a-8991-910803274352" providerId="ADAL" clId="{2666D789-431E-B64A-A60E-D0AD5E2AEE70}"/>
    <pc:docChg chg="undo custSel addSld delSld modSld sldOrd modSection">
      <pc:chgData name="Frechoso, Javier" userId="0727bfb3-dfc8-454a-8991-910803274352" providerId="ADAL" clId="{2666D789-431E-B64A-A60E-D0AD5E2AEE70}" dt="2019-03-22T16:22:03.806" v="2014" actId="1035"/>
      <pc:docMkLst>
        <pc:docMk/>
      </pc:docMkLst>
      <pc:sldChg chg="addSp delSp modSp modNotesTx">
        <pc:chgData name="Frechoso, Javier" userId="0727bfb3-dfc8-454a-8991-910803274352" providerId="ADAL" clId="{2666D789-431E-B64A-A60E-D0AD5E2AEE70}" dt="2019-03-22T13:10:04.701" v="1593" actId="20577"/>
        <pc:sldMkLst>
          <pc:docMk/>
          <pc:sldMk cId="337580700" sldId="257"/>
        </pc:sldMkLst>
        <pc:spChg chg="mod">
          <ac:chgData name="Frechoso, Javier" userId="0727bfb3-dfc8-454a-8991-910803274352" providerId="ADAL" clId="{2666D789-431E-B64A-A60E-D0AD5E2AEE70}" dt="2019-03-14T18:28:10.500" v="461" actId="207"/>
          <ac:spMkLst>
            <pc:docMk/>
            <pc:sldMk cId="337580700" sldId="257"/>
            <ac:spMk id="2" creationId="{00000000-0000-0000-0000-000000000000}"/>
          </ac:spMkLst>
        </pc:spChg>
        <pc:picChg chg="del">
          <ac:chgData name="Frechoso, Javier" userId="0727bfb3-dfc8-454a-8991-910803274352" providerId="ADAL" clId="{2666D789-431E-B64A-A60E-D0AD5E2AEE70}" dt="2019-03-14T18:19:49.525" v="163" actId="478"/>
          <ac:picMkLst>
            <pc:docMk/>
            <pc:sldMk cId="337580700" sldId="257"/>
            <ac:picMk id="6" creationId="{7EE3EDD8-5621-594C-83BD-4F08AEEC2142}"/>
          </ac:picMkLst>
        </pc:picChg>
        <pc:picChg chg="add mod">
          <ac:chgData name="Frechoso, Javier" userId="0727bfb3-dfc8-454a-8991-910803274352" providerId="ADAL" clId="{2666D789-431E-B64A-A60E-D0AD5E2AEE70}" dt="2019-03-14T18:19:58.422" v="210" actId="1035"/>
          <ac:picMkLst>
            <pc:docMk/>
            <pc:sldMk cId="337580700" sldId="257"/>
            <ac:picMk id="7" creationId="{F4714DE2-8F6A-3F4D-892B-3058957A234D}"/>
          </ac:picMkLst>
        </pc:picChg>
        <pc:picChg chg="add mod">
          <ac:chgData name="Frechoso, Javier" userId="0727bfb3-dfc8-454a-8991-910803274352" providerId="ADAL" clId="{2666D789-431E-B64A-A60E-D0AD5E2AEE70}" dt="2019-03-14T18:27:54.255" v="399" actId="14100"/>
          <ac:picMkLst>
            <pc:docMk/>
            <pc:sldMk cId="337580700" sldId="257"/>
            <ac:picMk id="9" creationId="{07619E48-D0D9-234C-BAA5-F7C9FE2AD13C}"/>
          </ac:picMkLst>
        </pc:picChg>
      </pc:sldChg>
      <pc:sldChg chg="add">
        <pc:chgData name="Frechoso, Javier" userId="0727bfb3-dfc8-454a-8991-910803274352" providerId="ADAL" clId="{2666D789-431E-B64A-A60E-D0AD5E2AEE70}" dt="2019-03-22T13:14:31.436" v="1662"/>
        <pc:sldMkLst>
          <pc:docMk/>
          <pc:sldMk cId="36686495" sldId="323"/>
        </pc:sldMkLst>
      </pc:sldChg>
      <pc:sldChg chg="modNotesTx">
        <pc:chgData name="Frechoso, Javier" userId="0727bfb3-dfc8-454a-8991-910803274352" providerId="ADAL" clId="{2666D789-431E-B64A-A60E-D0AD5E2AEE70}" dt="2019-03-22T13:14:51.918" v="1668" actId="20577"/>
        <pc:sldMkLst>
          <pc:docMk/>
          <pc:sldMk cId="2194784660" sldId="335"/>
        </pc:sldMkLst>
      </pc:sldChg>
      <pc:sldChg chg="modAnim">
        <pc:chgData name="Frechoso, Javier" userId="0727bfb3-dfc8-454a-8991-910803274352" providerId="ADAL" clId="{2666D789-431E-B64A-A60E-D0AD5E2AEE70}" dt="2019-03-22T13:13:40.242" v="1620"/>
        <pc:sldMkLst>
          <pc:docMk/>
          <pc:sldMk cId="3010422532" sldId="485"/>
        </pc:sldMkLst>
      </pc:sldChg>
      <pc:sldChg chg="addSp delSp modSp ord setBg modNotesTx">
        <pc:chgData name="Frechoso, Javier" userId="0727bfb3-dfc8-454a-8991-910803274352" providerId="ADAL" clId="{2666D789-431E-B64A-A60E-D0AD5E2AEE70}" dt="2019-03-22T16:19:27.179" v="2009"/>
        <pc:sldMkLst>
          <pc:docMk/>
          <pc:sldMk cId="3431274460" sldId="511"/>
        </pc:sldMkLst>
        <pc:grpChg chg="mod">
          <ac:chgData name="Frechoso, Javier" userId="0727bfb3-dfc8-454a-8991-910803274352" providerId="ADAL" clId="{2666D789-431E-B64A-A60E-D0AD5E2AEE70}" dt="2019-03-22T16:18:10.781" v="1948" actId="1076"/>
          <ac:grpSpMkLst>
            <pc:docMk/>
            <pc:sldMk cId="3431274460" sldId="511"/>
            <ac:grpSpMk id="6" creationId="{00000000-0000-0000-0000-000000000000}"/>
          </ac:grpSpMkLst>
        </pc:grpChg>
        <pc:picChg chg="add del mod">
          <ac:chgData name="Frechoso, Javier" userId="0727bfb3-dfc8-454a-8991-910803274352" providerId="ADAL" clId="{2666D789-431E-B64A-A60E-D0AD5E2AEE70}" dt="2019-03-22T16:19:27.179" v="2009"/>
          <ac:picMkLst>
            <pc:docMk/>
            <pc:sldMk cId="3431274460" sldId="511"/>
            <ac:picMk id="9" creationId="{224ACE68-68DA-844D-9B10-70CB67E27D91}"/>
          </ac:picMkLst>
        </pc:picChg>
      </pc:sldChg>
      <pc:sldChg chg="delSp modSp add del delAnim">
        <pc:chgData name="Frechoso, Javier" userId="0727bfb3-dfc8-454a-8991-910803274352" providerId="ADAL" clId="{2666D789-431E-B64A-A60E-D0AD5E2AEE70}" dt="2019-03-22T16:19:30.275" v="2012" actId="2696"/>
        <pc:sldMkLst>
          <pc:docMk/>
          <pc:sldMk cId="140573073" sldId="519"/>
        </pc:sldMkLst>
        <pc:spChg chg="mod">
          <ac:chgData name="Frechoso, Javier" userId="0727bfb3-dfc8-454a-8991-910803274352" providerId="ADAL" clId="{2666D789-431E-B64A-A60E-D0AD5E2AEE70}" dt="2019-03-17T18:16:00.956" v="662" actId="20577"/>
          <ac:spMkLst>
            <pc:docMk/>
            <pc:sldMk cId="140573073" sldId="519"/>
            <ac:spMk id="4" creationId="{D34C1CAC-1FAE-2748-86D7-BCB7630F503A}"/>
          </ac:spMkLst>
        </pc:spChg>
        <pc:spChg chg="mod">
          <ac:chgData name="Frechoso, Javier" userId="0727bfb3-dfc8-454a-8991-910803274352" providerId="ADAL" clId="{2666D789-431E-B64A-A60E-D0AD5E2AEE70}" dt="2019-03-17T18:15:09.661" v="605" actId="14100"/>
          <ac:spMkLst>
            <pc:docMk/>
            <pc:sldMk cId="140573073" sldId="519"/>
            <ac:spMk id="7" creationId="{E8B24145-2E14-4102-8E72-5B362C9E9641}"/>
          </ac:spMkLst>
        </pc:spChg>
        <pc:spChg chg="del">
          <ac:chgData name="Frechoso, Javier" userId="0727bfb3-dfc8-454a-8991-910803274352" providerId="ADAL" clId="{2666D789-431E-B64A-A60E-D0AD5E2AEE70}" dt="2019-03-17T18:15:11.812" v="606" actId="478"/>
          <ac:spMkLst>
            <pc:docMk/>
            <pc:sldMk cId="140573073" sldId="519"/>
            <ac:spMk id="8" creationId="{2C3803EF-2A05-440F-BE17-85334C66868B}"/>
          </ac:spMkLst>
        </pc:spChg>
      </pc:sldChg>
      <pc:sldChg chg="modNotesTx">
        <pc:chgData name="Frechoso, Javier" userId="0727bfb3-dfc8-454a-8991-910803274352" providerId="ADAL" clId="{2666D789-431E-B64A-A60E-D0AD5E2AEE70}" dt="2019-03-22T13:10:09.655" v="1601" actId="20577"/>
        <pc:sldMkLst>
          <pc:docMk/>
          <pc:sldMk cId="106972083" sldId="552"/>
        </pc:sldMkLst>
      </pc:sldChg>
      <pc:sldChg chg="modNotesTx">
        <pc:chgData name="Frechoso, Javier" userId="0727bfb3-dfc8-454a-8991-910803274352" providerId="ADAL" clId="{2666D789-431E-B64A-A60E-D0AD5E2AEE70}" dt="2019-03-22T13:43:17.674" v="1737" actId="20577"/>
        <pc:sldMkLst>
          <pc:docMk/>
          <pc:sldMk cId="3670569808" sldId="554"/>
        </pc:sldMkLst>
      </pc:sldChg>
      <pc:sldChg chg="modSp modNotesTx">
        <pc:chgData name="Frechoso, Javier" userId="0727bfb3-dfc8-454a-8991-910803274352" providerId="ADAL" clId="{2666D789-431E-B64A-A60E-D0AD5E2AEE70}" dt="2019-03-22T13:41:10.230" v="1682" actId="20577"/>
        <pc:sldMkLst>
          <pc:docMk/>
          <pc:sldMk cId="3244467801" sldId="746"/>
        </pc:sldMkLst>
        <pc:spChg chg="mod">
          <ac:chgData name="Frechoso, Javier" userId="0727bfb3-dfc8-454a-8991-910803274352" providerId="ADAL" clId="{2666D789-431E-B64A-A60E-D0AD5E2AEE70}" dt="2019-03-14T18:23:17.883" v="212" actId="113"/>
          <ac:spMkLst>
            <pc:docMk/>
            <pc:sldMk cId="3244467801" sldId="746"/>
            <ac:spMk id="2" creationId="{213FB3D8-6BBC-9D4D-A975-F4D8B5C5212E}"/>
          </ac:spMkLst>
        </pc:spChg>
        <pc:spChg chg="mod">
          <ac:chgData name="Frechoso, Javier" userId="0727bfb3-dfc8-454a-8991-910803274352" providerId="ADAL" clId="{2666D789-431E-B64A-A60E-D0AD5E2AEE70}" dt="2019-03-17T18:12:52.683" v="508" actId="20577"/>
          <ac:spMkLst>
            <pc:docMk/>
            <pc:sldMk cId="3244467801" sldId="746"/>
            <ac:spMk id="6" creationId="{EA93FDD8-5F28-8B43-A6D9-8AD143C0F6ED}"/>
          </ac:spMkLst>
        </pc:spChg>
        <pc:spChg chg="mod">
          <ac:chgData name="Frechoso, Javier" userId="0727bfb3-dfc8-454a-8991-910803274352" providerId="ADAL" clId="{2666D789-431E-B64A-A60E-D0AD5E2AEE70}" dt="2019-03-22T13:41:10.230" v="1682" actId="20577"/>
          <ac:spMkLst>
            <pc:docMk/>
            <pc:sldMk cId="3244467801" sldId="746"/>
            <ac:spMk id="7" creationId="{6A569B09-1D93-9940-B50E-077EFE5A54D2}"/>
          </ac:spMkLst>
        </pc:spChg>
        <pc:spChg chg="mod">
          <ac:chgData name="Frechoso, Javier" userId="0727bfb3-dfc8-454a-8991-910803274352" providerId="ADAL" clId="{2666D789-431E-B64A-A60E-D0AD5E2AEE70}" dt="2019-03-14T18:23:13.540" v="211" actId="113"/>
          <ac:spMkLst>
            <pc:docMk/>
            <pc:sldMk cId="3244467801" sldId="746"/>
            <ac:spMk id="9" creationId="{26B1F0FE-B33A-C14B-8ABF-807EB128636E}"/>
          </ac:spMkLst>
        </pc:spChg>
      </pc:sldChg>
      <pc:sldChg chg="modNotesTx">
        <pc:chgData name="Frechoso, Javier" userId="0727bfb3-dfc8-454a-8991-910803274352" providerId="ADAL" clId="{2666D789-431E-B64A-A60E-D0AD5E2AEE70}" dt="2019-03-22T15:05:46.230" v="1898" actId="20577"/>
        <pc:sldMkLst>
          <pc:docMk/>
          <pc:sldMk cId="3361152087" sldId="749"/>
        </pc:sldMkLst>
      </pc:sldChg>
      <pc:sldChg chg="modNotesTx">
        <pc:chgData name="Frechoso, Javier" userId="0727bfb3-dfc8-454a-8991-910803274352" providerId="ADAL" clId="{2666D789-431E-B64A-A60E-D0AD5E2AEE70}" dt="2019-03-22T15:05:35.007" v="1880" actId="20577"/>
        <pc:sldMkLst>
          <pc:docMk/>
          <pc:sldMk cId="4045491939" sldId="775"/>
        </pc:sldMkLst>
      </pc:sldChg>
      <pc:sldChg chg="modNotesTx">
        <pc:chgData name="Frechoso, Javier" userId="0727bfb3-dfc8-454a-8991-910803274352" providerId="ADAL" clId="{2666D789-431E-B64A-A60E-D0AD5E2AEE70}" dt="2019-03-22T15:05:41.065" v="1890" actId="20577"/>
        <pc:sldMkLst>
          <pc:docMk/>
          <pc:sldMk cId="4095401837" sldId="781"/>
        </pc:sldMkLst>
      </pc:sldChg>
      <pc:sldChg chg="addSp delSp modSp modNotesTx">
        <pc:chgData name="Frechoso, Javier" userId="0727bfb3-dfc8-454a-8991-910803274352" providerId="ADAL" clId="{2666D789-431E-B64A-A60E-D0AD5E2AEE70}" dt="2019-03-22T13:11:06.066" v="1617" actId="20577"/>
        <pc:sldMkLst>
          <pc:docMk/>
          <pc:sldMk cId="412400582" sldId="785"/>
        </pc:sldMkLst>
        <pc:spChg chg="add del mod">
          <ac:chgData name="Frechoso, Javier" userId="0727bfb3-dfc8-454a-8991-910803274352" providerId="ADAL" clId="{2666D789-431E-B64A-A60E-D0AD5E2AEE70}" dt="2019-03-14T18:28:42.154" v="463" actId="478"/>
          <ac:spMkLst>
            <pc:docMk/>
            <pc:sldMk cId="412400582" sldId="785"/>
            <ac:spMk id="3" creationId="{5001235F-B364-714D-8536-35D7C7BD153E}"/>
          </ac:spMkLst>
        </pc:spChg>
        <pc:picChg chg="add del mod">
          <ac:chgData name="Frechoso, Javier" userId="0727bfb3-dfc8-454a-8991-910803274352" providerId="ADAL" clId="{2666D789-431E-B64A-A60E-D0AD5E2AEE70}" dt="2019-03-14T18:28:45.600" v="465" actId="1076"/>
          <ac:picMkLst>
            <pc:docMk/>
            <pc:sldMk cId="412400582" sldId="785"/>
            <ac:picMk id="19" creationId="{9323F260-F4CD-F94B-9CF5-45D179E74A66}"/>
          </ac:picMkLst>
        </pc:picChg>
      </pc:sldChg>
      <pc:sldChg chg="modNotesTx">
        <pc:chgData name="Frechoso, Javier" userId="0727bfb3-dfc8-454a-8991-910803274352" providerId="ADAL" clId="{2666D789-431E-B64A-A60E-D0AD5E2AEE70}" dt="2019-03-22T13:44:03.144" v="1748" actId="20577"/>
        <pc:sldMkLst>
          <pc:docMk/>
          <pc:sldMk cId="3292699447" sldId="786"/>
        </pc:sldMkLst>
      </pc:sldChg>
      <pc:sldChg chg="modNotesTx">
        <pc:chgData name="Frechoso, Javier" userId="0727bfb3-dfc8-454a-8991-910803274352" providerId="ADAL" clId="{2666D789-431E-B64A-A60E-D0AD5E2AEE70}" dt="2019-03-22T13:44:30.666" v="1784" actId="20577"/>
        <pc:sldMkLst>
          <pc:docMk/>
          <pc:sldMk cId="3421189455" sldId="787"/>
        </pc:sldMkLst>
      </pc:sldChg>
      <pc:sldChg chg="modNotesTx">
        <pc:chgData name="Frechoso, Javier" userId="0727bfb3-dfc8-454a-8991-910803274352" providerId="ADAL" clId="{2666D789-431E-B64A-A60E-D0AD5E2AEE70}" dt="2019-03-22T13:44:13.929" v="1772" actId="20577"/>
        <pc:sldMkLst>
          <pc:docMk/>
          <pc:sldMk cId="2930888658" sldId="788"/>
        </pc:sldMkLst>
      </pc:sldChg>
      <pc:sldChg chg="modNotesTx">
        <pc:chgData name="Frechoso, Javier" userId="0727bfb3-dfc8-454a-8991-910803274352" providerId="ADAL" clId="{2666D789-431E-B64A-A60E-D0AD5E2AEE70}" dt="2019-03-22T13:45:10.038" v="1834" actId="20577"/>
        <pc:sldMkLst>
          <pc:docMk/>
          <pc:sldMk cId="2849006509" sldId="789"/>
        </pc:sldMkLst>
      </pc:sldChg>
      <pc:sldChg chg="modSp ord">
        <pc:chgData name="Frechoso, Javier" userId="0727bfb3-dfc8-454a-8991-910803274352" providerId="ADAL" clId="{2666D789-431E-B64A-A60E-D0AD5E2AEE70}" dt="2019-03-22T15:11:35.955" v="1933"/>
        <pc:sldMkLst>
          <pc:docMk/>
          <pc:sldMk cId="445962261" sldId="790"/>
        </pc:sldMkLst>
        <pc:spChg chg="mod">
          <ac:chgData name="Frechoso, Javier" userId="0727bfb3-dfc8-454a-8991-910803274352" providerId="ADAL" clId="{2666D789-431E-B64A-A60E-D0AD5E2AEE70}" dt="2019-03-17T19:14:05.665" v="1420" actId="20577"/>
          <ac:spMkLst>
            <pc:docMk/>
            <pc:sldMk cId="445962261" sldId="790"/>
            <ac:spMk id="2" creationId="{37FCA8EB-1FB9-AA4A-AA07-9D29C513E4BF}"/>
          </ac:spMkLst>
        </pc:spChg>
      </pc:sldChg>
      <pc:sldChg chg="modNotesTx">
        <pc:chgData name="Frechoso, Javier" userId="0727bfb3-dfc8-454a-8991-910803274352" providerId="ADAL" clId="{2666D789-431E-B64A-A60E-D0AD5E2AEE70}" dt="2019-03-22T13:14:39.659" v="1664" actId="20577"/>
        <pc:sldMkLst>
          <pc:docMk/>
          <pc:sldMk cId="2845532891" sldId="793"/>
        </pc:sldMkLst>
      </pc:sldChg>
      <pc:sldChg chg="del modNotesTx">
        <pc:chgData name="Frechoso, Javier" userId="0727bfb3-dfc8-454a-8991-910803274352" providerId="ADAL" clId="{2666D789-431E-B64A-A60E-D0AD5E2AEE70}" dt="2019-03-22T13:14:34.810" v="1663" actId="2696"/>
        <pc:sldMkLst>
          <pc:docMk/>
          <pc:sldMk cId="616756550" sldId="795"/>
        </pc:sldMkLst>
      </pc:sldChg>
      <pc:sldChg chg="modNotesTx">
        <pc:chgData name="Frechoso, Javier" userId="0727bfb3-dfc8-454a-8991-910803274352" providerId="ADAL" clId="{2666D789-431E-B64A-A60E-D0AD5E2AEE70}" dt="2019-03-22T13:44:44.618" v="1803" actId="20577"/>
        <pc:sldMkLst>
          <pc:docMk/>
          <pc:sldMk cId="854572277" sldId="799"/>
        </pc:sldMkLst>
      </pc:sldChg>
      <pc:sldChg chg="modNotesTx">
        <pc:chgData name="Frechoso, Javier" userId="0727bfb3-dfc8-454a-8991-910803274352" providerId="ADAL" clId="{2666D789-431E-B64A-A60E-D0AD5E2AEE70}" dt="2019-03-22T13:44:39.676" v="1792" actId="20577"/>
        <pc:sldMkLst>
          <pc:docMk/>
          <pc:sldMk cId="2784490215" sldId="802"/>
        </pc:sldMkLst>
      </pc:sldChg>
      <pc:sldChg chg="modNotesTx">
        <pc:chgData name="Frechoso, Javier" userId="0727bfb3-dfc8-454a-8991-910803274352" providerId="ADAL" clId="{2666D789-431E-B64A-A60E-D0AD5E2AEE70}" dt="2019-03-22T13:44:36.299" v="1788" actId="20577"/>
        <pc:sldMkLst>
          <pc:docMk/>
          <pc:sldMk cId="1891285891" sldId="803"/>
        </pc:sldMkLst>
      </pc:sldChg>
      <pc:sldChg chg="modSp setBg modNotesTx">
        <pc:chgData name="Frechoso, Javier" userId="0727bfb3-dfc8-454a-8991-910803274352" providerId="ADAL" clId="{2666D789-431E-B64A-A60E-D0AD5E2AEE70}" dt="2019-03-22T13:44:17.333" v="1780" actId="20577"/>
        <pc:sldMkLst>
          <pc:docMk/>
          <pc:sldMk cId="480077938" sldId="806"/>
        </pc:sldMkLst>
        <pc:picChg chg="mod">
          <ac:chgData name="Frechoso, Javier" userId="0727bfb3-dfc8-454a-8991-910803274352" providerId="ADAL" clId="{2666D789-431E-B64A-A60E-D0AD5E2AEE70}" dt="2019-03-12T22:56:04.677" v="2" actId="1076"/>
          <ac:picMkLst>
            <pc:docMk/>
            <pc:sldMk cId="480077938" sldId="806"/>
            <ac:picMk id="11" creationId="{52AB68AA-4430-D54D-9678-F47C5B44533A}"/>
          </ac:picMkLst>
        </pc:picChg>
      </pc:sldChg>
      <pc:sldChg chg="modSp modNotesTx">
        <pc:chgData name="Frechoso, Javier" userId="0727bfb3-dfc8-454a-8991-910803274352" providerId="ADAL" clId="{2666D789-431E-B64A-A60E-D0AD5E2AEE70}" dt="2019-03-22T15:16:29.697" v="1939" actId="20577"/>
        <pc:sldMkLst>
          <pc:docMk/>
          <pc:sldMk cId="657336376" sldId="807"/>
        </pc:sldMkLst>
        <pc:spChg chg="mod">
          <ac:chgData name="Frechoso, Javier" userId="0727bfb3-dfc8-454a-8991-910803274352" providerId="ADAL" clId="{2666D789-431E-B64A-A60E-D0AD5E2AEE70}" dt="2019-03-22T15:11:06.057" v="1930" actId="113"/>
          <ac:spMkLst>
            <pc:docMk/>
            <pc:sldMk cId="657336376" sldId="807"/>
            <ac:spMk id="7" creationId="{1E6C1F28-DFAF-A24D-B9F8-FB483E914727}"/>
          </ac:spMkLst>
        </pc:spChg>
      </pc:sldChg>
      <pc:sldChg chg="modNotesTx">
        <pc:chgData name="Frechoso, Javier" userId="0727bfb3-dfc8-454a-8991-910803274352" providerId="ADAL" clId="{2666D789-431E-B64A-A60E-D0AD5E2AEE70}" dt="2019-03-22T13:45:13.709" v="1841" actId="20577"/>
        <pc:sldMkLst>
          <pc:docMk/>
          <pc:sldMk cId="1109789744" sldId="808"/>
        </pc:sldMkLst>
      </pc:sldChg>
      <pc:sldChg chg="modNotesTx">
        <pc:chgData name="Frechoso, Javier" userId="0727bfb3-dfc8-454a-8991-910803274352" providerId="ADAL" clId="{2666D789-431E-B64A-A60E-D0AD5E2AEE70}" dt="2019-03-22T13:16:20.253" v="1677" actId="20577"/>
        <pc:sldMkLst>
          <pc:docMk/>
          <pc:sldMk cId="3580205263" sldId="809"/>
        </pc:sldMkLst>
      </pc:sldChg>
      <pc:sldChg chg="modSp add setBg">
        <pc:chgData name="Frechoso, Javier" userId="0727bfb3-dfc8-454a-8991-910803274352" providerId="ADAL" clId="{2666D789-431E-B64A-A60E-D0AD5E2AEE70}" dt="2019-03-22T16:22:03.806" v="2014" actId="1035"/>
        <pc:sldMkLst>
          <pc:docMk/>
          <pc:sldMk cId="3798199481" sldId="811"/>
        </pc:sldMkLst>
        <pc:picChg chg="mod">
          <ac:chgData name="Frechoso, Javier" userId="0727bfb3-dfc8-454a-8991-910803274352" providerId="ADAL" clId="{2666D789-431E-B64A-A60E-D0AD5E2AEE70}" dt="2019-03-22T16:22:03.806" v="2014" actId="1035"/>
          <ac:picMkLst>
            <pc:docMk/>
            <pc:sldMk cId="3798199481" sldId="811"/>
            <ac:picMk id="35" creationId="{D9047AAF-B12D-6548-A8B9-2D9E3A7E4C49}"/>
          </ac:picMkLst>
        </pc:picChg>
      </pc:sldChg>
      <pc:sldChg chg="addSp delSp modSp ord modNotesTx">
        <pc:chgData name="Frechoso, Javier" userId="0727bfb3-dfc8-454a-8991-910803274352" providerId="ADAL" clId="{2666D789-431E-B64A-A60E-D0AD5E2AEE70}" dt="2019-03-22T13:42:43.705" v="1713" actId="20577"/>
        <pc:sldMkLst>
          <pc:docMk/>
          <pc:sldMk cId="538896271" sldId="812"/>
        </pc:sldMkLst>
        <pc:spChg chg="add del">
          <ac:chgData name="Frechoso, Javier" userId="0727bfb3-dfc8-454a-8991-910803274352" providerId="ADAL" clId="{2666D789-431E-B64A-A60E-D0AD5E2AEE70}" dt="2019-03-22T13:10:42.923" v="1608" actId="478"/>
          <ac:spMkLst>
            <pc:docMk/>
            <pc:sldMk cId="538896271" sldId="812"/>
            <ac:spMk id="2" creationId="{3268CCB2-E6F3-42B1-8D7E-777054A95380}"/>
          </ac:spMkLst>
        </pc:spChg>
        <pc:spChg chg="add del mod">
          <ac:chgData name="Frechoso, Javier" userId="0727bfb3-dfc8-454a-8991-910803274352" providerId="ADAL" clId="{2666D789-431E-B64A-A60E-D0AD5E2AEE70}" dt="2019-03-22T13:10:45.981" v="1610" actId="478"/>
          <ac:spMkLst>
            <pc:docMk/>
            <pc:sldMk cId="538896271" sldId="812"/>
            <ac:spMk id="3" creationId="{271F352F-52BE-4C75-98DB-3EDA9D381663}"/>
          </ac:spMkLst>
        </pc:spChg>
      </pc:sldChg>
      <pc:sldChg chg="ord">
        <pc:chgData name="Frechoso, Javier" userId="0727bfb3-dfc8-454a-8991-910803274352" providerId="ADAL" clId="{2666D789-431E-B64A-A60E-D0AD5E2AEE70}" dt="2019-03-22T13:10:18.083" v="1603"/>
        <pc:sldMkLst>
          <pc:docMk/>
          <pc:sldMk cId="234266736" sldId="813"/>
        </pc:sldMkLst>
      </pc:sldChg>
      <pc:sldChg chg="modNotesTx">
        <pc:chgData name="Frechoso, Javier" userId="0727bfb3-dfc8-454a-8991-910803274352" providerId="ADAL" clId="{2666D789-431E-B64A-A60E-D0AD5E2AEE70}" dt="2019-03-22T13:44:10.704" v="1764" actId="20577"/>
        <pc:sldMkLst>
          <pc:docMk/>
          <pc:sldMk cId="1203957946" sldId="814"/>
        </pc:sldMkLst>
      </pc:sldChg>
      <pc:sldChg chg="modNotesTx">
        <pc:chgData name="Frechoso, Javier" userId="0727bfb3-dfc8-454a-8991-910803274352" providerId="ADAL" clId="{2666D789-431E-B64A-A60E-D0AD5E2AEE70}" dt="2019-03-22T13:44:07.279" v="1756" actId="20577"/>
        <pc:sldMkLst>
          <pc:docMk/>
          <pc:sldMk cId="1500912337" sldId="815"/>
        </pc:sldMkLst>
      </pc:sldChg>
      <pc:sldChg chg="modSp modNotesTx">
        <pc:chgData name="Frechoso, Javier" userId="0727bfb3-dfc8-454a-8991-910803274352" providerId="ADAL" clId="{2666D789-431E-B64A-A60E-D0AD5E2AEE70}" dt="2019-03-22T13:44:52.779" v="1814" actId="20577"/>
        <pc:sldMkLst>
          <pc:docMk/>
          <pc:sldMk cId="1308012656" sldId="816"/>
        </pc:sldMkLst>
        <pc:spChg chg="mod">
          <ac:chgData name="Frechoso, Javier" userId="0727bfb3-dfc8-454a-8991-910803274352" providerId="ADAL" clId="{2666D789-431E-B64A-A60E-D0AD5E2AEE70}" dt="2019-03-22T13:42:27.368" v="1701" actId="20577"/>
          <ac:spMkLst>
            <pc:docMk/>
            <pc:sldMk cId="1308012656" sldId="816"/>
            <ac:spMk id="7" creationId="{56A2D435-C9ED-D340-B141-08A51670BB94}"/>
          </ac:spMkLst>
        </pc:spChg>
      </pc:sldChg>
      <pc:sldChg chg="modNotesTx">
        <pc:chgData name="Frechoso, Javier" userId="0727bfb3-dfc8-454a-8991-910803274352" providerId="ADAL" clId="{2666D789-431E-B64A-A60E-D0AD5E2AEE70}" dt="2019-03-22T13:45:01.880" v="1821" actId="20577"/>
        <pc:sldMkLst>
          <pc:docMk/>
          <pc:sldMk cId="4281051055" sldId="817"/>
        </pc:sldMkLst>
      </pc:sldChg>
      <pc:sldChg chg="modNotesTx">
        <pc:chgData name="Frechoso, Javier" userId="0727bfb3-dfc8-454a-8991-910803274352" providerId="ADAL" clId="{2666D789-431E-B64A-A60E-D0AD5E2AEE70}" dt="2019-03-22T13:43:30.118" v="1741" actId="20577"/>
        <pc:sldMkLst>
          <pc:docMk/>
          <pc:sldMk cId="2985459688" sldId="818"/>
        </pc:sldMkLst>
      </pc:sldChg>
      <pc:sldMasterChg chg="addSldLayout delSldLayout">
        <pc:chgData name="Frechoso, Javier" userId="0727bfb3-dfc8-454a-8991-910803274352" providerId="ADAL" clId="{2666D789-431E-B64A-A60E-D0AD5E2AEE70}" dt="2019-03-22T16:19:30.276" v="2013" actId="2696"/>
        <pc:sldMasterMkLst>
          <pc:docMk/>
          <pc:sldMasterMk cId="4061823467" sldId="2147484760"/>
        </pc:sldMasterMkLst>
        <pc:sldLayoutChg chg="add del">
          <pc:chgData name="Frechoso, Javier" userId="0727bfb3-dfc8-454a-8991-910803274352" providerId="ADAL" clId="{2666D789-431E-B64A-A60E-D0AD5E2AEE70}" dt="2019-03-22T16:19:30.276" v="2013" actId="2696"/>
          <pc:sldLayoutMkLst>
            <pc:docMk/>
            <pc:sldMasterMk cId="4061823467" sldId="2147484760"/>
            <pc:sldLayoutMk cId="1531257576" sldId="2147484978"/>
          </pc:sldLayoutMkLst>
        </pc:sldLayoutChg>
      </pc:sldMasterChg>
    </pc:docChg>
  </pc:docChgLst>
  <pc:docChgLst>
    <pc:chgData name="Cancer, Jorge" userId="S::jorge.cancer@adidas.com::92ca6ae6-4cee-448c-a56a-076f3dcc8be8" providerId="AD" clId="Web-{7AE9706A-D399-4D2C-8573-5C83181FB783}"/>
    <pc:docChg chg="addSld delSld modSld modSection">
      <pc:chgData name="Cancer, Jorge" userId="S::jorge.cancer@adidas.com::92ca6ae6-4cee-448c-a56a-076f3dcc8be8" providerId="AD" clId="Web-{7AE9706A-D399-4D2C-8573-5C83181FB783}" dt="2019-03-15T21:39:54.350" v="19"/>
      <pc:docMkLst>
        <pc:docMk/>
      </pc:docMkLst>
    </pc:docChg>
  </pc:docChgLst>
  <pc:docChgLst>
    <pc:chgData name="Sanz, Alberto" userId="S::alberto.sanz@adidas.com::08d307b2-0e40-49ad-822b-27df6d75e0fa" providerId="AD" clId="Web-{0FF97B32-FA8B-82D1-18E6-1526E8A2AFAB}"/>
    <pc:docChg chg="modSld">
      <pc:chgData name="Sanz, Alberto" userId="S::alberto.sanz@adidas.com::08d307b2-0e40-49ad-822b-27df6d75e0fa" providerId="AD" clId="Web-{0FF97B32-FA8B-82D1-18E6-1526E8A2AFAB}" dt="2019-03-20T15:05:59.078" v="13" actId="20577"/>
      <pc:docMkLst>
        <pc:docMk/>
      </pc:docMkLst>
    </pc:docChg>
  </pc:docChgLst>
  <pc:docChgLst>
    <pc:chgData name="Cornago, Fernando" userId="048a41c0-cb7a-447c-b2ac-f7c7348706e9" providerId="ADAL" clId="{EC873775-63E3-F745-86AD-FE1173B5F5A9}"/>
    <pc:docChg chg="undo custSel addSld delSld modSld sldOrd modSection">
      <pc:chgData name="Cornago, Fernando" userId="048a41c0-cb7a-447c-b2ac-f7c7348706e9" providerId="ADAL" clId="{EC873775-63E3-F745-86AD-FE1173B5F5A9}" dt="2019-03-22T09:26:57.966" v="430" actId="20577"/>
      <pc:docMkLst>
        <pc:docMk/>
      </pc:docMkLst>
      <pc:sldChg chg="del">
        <pc:chgData name="Cornago, Fernando" userId="048a41c0-cb7a-447c-b2ac-f7c7348706e9" providerId="ADAL" clId="{EC873775-63E3-F745-86AD-FE1173B5F5A9}" dt="2019-03-22T09:19:22.562" v="414" actId="2696"/>
        <pc:sldMkLst>
          <pc:docMk/>
          <pc:sldMk cId="2121623704" sldId="418"/>
        </pc:sldMkLst>
      </pc:sldChg>
      <pc:sldChg chg="ord">
        <pc:chgData name="Cornago, Fernando" userId="048a41c0-cb7a-447c-b2ac-f7c7348706e9" providerId="ADAL" clId="{EC873775-63E3-F745-86AD-FE1173B5F5A9}" dt="2019-03-22T09:19:20.305" v="413"/>
        <pc:sldMkLst>
          <pc:docMk/>
          <pc:sldMk cId="3431274460" sldId="511"/>
        </pc:sldMkLst>
      </pc:sldChg>
      <pc:sldChg chg="addSp delSp modSp modAnim">
        <pc:chgData name="Cornago, Fernando" userId="048a41c0-cb7a-447c-b2ac-f7c7348706e9" providerId="ADAL" clId="{EC873775-63E3-F745-86AD-FE1173B5F5A9}" dt="2019-03-22T09:19:00.039" v="412"/>
        <pc:sldMkLst>
          <pc:docMk/>
          <pc:sldMk cId="445962261" sldId="790"/>
        </pc:sldMkLst>
        <pc:spChg chg="del">
          <ac:chgData name="Cornago, Fernando" userId="048a41c0-cb7a-447c-b2ac-f7c7348706e9" providerId="ADAL" clId="{EC873775-63E3-F745-86AD-FE1173B5F5A9}" dt="2019-03-22T09:17:33.554" v="403" actId="478"/>
          <ac:spMkLst>
            <pc:docMk/>
            <pc:sldMk cId="445962261" sldId="790"/>
            <ac:spMk id="2" creationId="{37FCA8EB-1FB9-AA4A-AA07-9D29C513E4BF}"/>
          </ac:spMkLst>
        </pc:spChg>
        <pc:spChg chg="add del mod">
          <ac:chgData name="Cornago, Fernando" userId="048a41c0-cb7a-447c-b2ac-f7c7348706e9" providerId="ADAL" clId="{EC873775-63E3-F745-86AD-FE1173B5F5A9}" dt="2019-03-22T09:17:36.473" v="404" actId="478"/>
          <ac:spMkLst>
            <pc:docMk/>
            <pc:sldMk cId="445962261" sldId="790"/>
            <ac:spMk id="8" creationId="{87BD72C1-0C7D-0848-8DD6-E736456845EB}"/>
          </ac:spMkLst>
        </pc:spChg>
        <pc:spChg chg="add mod">
          <ac:chgData name="Cornago, Fernando" userId="048a41c0-cb7a-447c-b2ac-f7c7348706e9" providerId="ADAL" clId="{EC873775-63E3-F745-86AD-FE1173B5F5A9}" dt="2019-03-22T09:18:40.726" v="409" actId="171"/>
          <ac:spMkLst>
            <pc:docMk/>
            <pc:sldMk cId="445962261" sldId="790"/>
            <ac:spMk id="9" creationId="{FA77451F-F926-C04D-BE57-8ACA097F3260}"/>
          </ac:spMkLst>
        </pc:spChg>
        <pc:picChg chg="add mod">
          <ac:chgData name="Cornago, Fernando" userId="048a41c0-cb7a-447c-b2ac-f7c7348706e9" providerId="ADAL" clId="{EC873775-63E3-F745-86AD-FE1173B5F5A9}" dt="2019-03-22T09:17:54.558" v="407" actId="1076"/>
          <ac:picMkLst>
            <pc:docMk/>
            <pc:sldMk cId="445962261" sldId="790"/>
            <ac:picMk id="6" creationId="{BCD938F0-74B0-134D-9495-696426926E10}"/>
          </ac:picMkLst>
        </pc:picChg>
      </pc:sldChg>
      <pc:sldChg chg="addSp delSp modSp add">
        <pc:chgData name="Cornago, Fernando" userId="048a41c0-cb7a-447c-b2ac-f7c7348706e9" providerId="ADAL" clId="{EC873775-63E3-F745-86AD-FE1173B5F5A9}" dt="2019-03-22T09:26:57.966" v="430" actId="20577"/>
        <pc:sldMkLst>
          <pc:docMk/>
          <pc:sldMk cId="3580205263" sldId="809"/>
        </pc:sldMkLst>
        <pc:spChg chg="add del mod">
          <ac:chgData name="Cornago, Fernando" userId="048a41c0-cb7a-447c-b2ac-f7c7348706e9" providerId="ADAL" clId="{EC873775-63E3-F745-86AD-FE1173B5F5A9}" dt="2019-03-21T17:58:19.495" v="391"/>
          <ac:spMkLst>
            <pc:docMk/>
            <pc:sldMk cId="3580205263" sldId="809"/>
            <ac:spMk id="2" creationId="{8DB43108-5119-3C4C-9658-016597E0CEB8}"/>
          </ac:spMkLst>
        </pc:spChg>
        <pc:spChg chg="add del mod">
          <ac:chgData name="Cornago, Fernando" userId="048a41c0-cb7a-447c-b2ac-f7c7348706e9" providerId="ADAL" clId="{EC873775-63E3-F745-86AD-FE1173B5F5A9}" dt="2019-03-22T09:26:37.620" v="424" actId="20577"/>
          <ac:spMkLst>
            <pc:docMk/>
            <pc:sldMk cId="3580205263" sldId="809"/>
            <ac:spMk id="47" creationId="{2B16D902-16EA-214A-89D5-AD62F88F8860}"/>
          </ac:spMkLst>
        </pc:spChg>
        <pc:spChg chg="mod">
          <ac:chgData name="Cornago, Fernando" userId="048a41c0-cb7a-447c-b2ac-f7c7348706e9" providerId="ADAL" clId="{EC873775-63E3-F745-86AD-FE1173B5F5A9}" dt="2019-03-22T09:26:57.966" v="430" actId="20577"/>
          <ac:spMkLst>
            <pc:docMk/>
            <pc:sldMk cId="3580205263" sldId="809"/>
            <ac:spMk id="67" creationId="{D7929E3B-04B5-C24B-9564-58DA629021DE}"/>
          </ac:spMkLst>
        </pc:spChg>
      </pc:sldChg>
      <pc:sldMasterChg chg="delSldLayout">
        <pc:chgData name="Cornago, Fernando" userId="048a41c0-cb7a-447c-b2ac-f7c7348706e9" providerId="ADAL" clId="{EC873775-63E3-F745-86AD-FE1173B5F5A9}" dt="2019-03-22T09:19:22.566" v="415" actId="2696"/>
        <pc:sldMasterMkLst>
          <pc:docMk/>
          <pc:sldMasterMk cId="4061823467" sldId="2147484760"/>
        </pc:sldMasterMkLst>
        <pc:sldLayoutChg chg="del">
          <pc:chgData name="Cornago, Fernando" userId="048a41c0-cb7a-447c-b2ac-f7c7348706e9" providerId="ADAL" clId="{EC873775-63E3-F745-86AD-FE1173B5F5A9}" dt="2019-03-22T09:19:22.566" v="415" actId="2696"/>
          <pc:sldLayoutMkLst>
            <pc:docMk/>
            <pc:sldMasterMk cId="4061823467" sldId="2147484760"/>
            <pc:sldLayoutMk cId="1657434417" sldId="2147484976"/>
          </pc:sldLayoutMkLst>
        </pc:sldLayoutChg>
      </pc:sldMasterChg>
    </pc:docChg>
  </pc:docChgLst>
  <pc:docChgLst>
    <pc:chgData name="Cancer, Jorge" userId="S::jorge.cancer@adidas.com::92ca6ae6-4cee-448c-a56a-076f3dcc8be8" providerId="AD" clId="Web-{969CEEEE-DA0E-1DCB-7A96-66B53B8F7A14}"/>
    <pc:docChg chg="addSld delSld modSld sldOrd modSection">
      <pc:chgData name="Cancer, Jorge" userId="S::jorge.cancer@adidas.com::92ca6ae6-4cee-448c-a56a-076f3dcc8be8" providerId="AD" clId="Web-{969CEEEE-DA0E-1DCB-7A96-66B53B8F7A14}" dt="2019-03-21T09:22:18.287" v="30"/>
      <pc:docMkLst>
        <pc:docMk/>
      </pc:docMkLst>
    </pc:docChg>
  </pc:docChgLst>
  <pc:docChgLst>
    <pc:chgData name="Sanz, Alberto" userId="S::alberto.sanz@adidas.com::08d307b2-0e40-49ad-822b-27df6d75e0fa" providerId="AD" clId="Web-{2EE9AB37-D105-66E8-D00D-FC55DFC4ED4D}"/>
    <pc:docChg chg="modSld">
      <pc:chgData name="Sanz, Alberto" userId="S::alberto.sanz@adidas.com::08d307b2-0e40-49ad-822b-27df6d75e0fa" providerId="AD" clId="Web-{2EE9AB37-D105-66E8-D00D-FC55DFC4ED4D}" dt="2019-03-22T10:12:32.504" v="38" actId="20577"/>
      <pc:docMkLst>
        <pc:docMk/>
      </pc:docMkLst>
      <pc:sldChg chg="modSp">
        <pc:chgData name="Sanz, Alberto" userId="S::alberto.sanz@adidas.com::08d307b2-0e40-49ad-822b-27df6d75e0fa" providerId="AD" clId="Web-{2EE9AB37-D105-66E8-D00D-FC55DFC4ED4D}" dt="2019-03-22T10:12:30.816" v="36" actId="20577"/>
        <pc:sldMkLst>
          <pc:docMk/>
          <pc:sldMk cId="3244467801" sldId="746"/>
        </pc:sldMkLst>
        <pc:spChg chg="mod">
          <ac:chgData name="Sanz, Alberto" userId="S::alberto.sanz@adidas.com::08d307b2-0e40-49ad-822b-27df6d75e0fa" providerId="AD" clId="Web-{2EE9AB37-D105-66E8-D00D-FC55DFC4ED4D}" dt="2019-03-22T10:12:28.113" v="34" actId="20577"/>
          <ac:spMkLst>
            <pc:docMk/>
            <pc:sldMk cId="3244467801" sldId="746"/>
            <ac:spMk id="6" creationId="{EA93FDD8-5F28-8B43-A6D9-8AD143C0F6ED}"/>
          </ac:spMkLst>
        </pc:spChg>
        <pc:spChg chg="mod">
          <ac:chgData name="Sanz, Alberto" userId="S::alberto.sanz@adidas.com::08d307b2-0e40-49ad-822b-27df6d75e0fa" providerId="AD" clId="Web-{2EE9AB37-D105-66E8-D00D-FC55DFC4ED4D}" dt="2019-03-22T10:12:30.816" v="36" actId="20577"/>
          <ac:spMkLst>
            <pc:docMk/>
            <pc:sldMk cId="3244467801" sldId="746"/>
            <ac:spMk id="7" creationId="{6A569B09-1D93-9940-B50E-077EFE5A54D2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</p:spTree>
    <p:extLst>
      <p:ext uri="{BB962C8B-B14F-4D97-AF65-F5344CB8AC3E}">
        <p14:creationId xmlns:p14="http://schemas.microsoft.com/office/powerpoint/2010/main" val="2083449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12738" y="434975"/>
            <a:ext cx="6176962" cy="3475227"/>
          </a:xfrm>
          <a:prstGeom prst="rect">
            <a:avLst/>
          </a:prstGeom>
          <a:noFill/>
          <a:ln w="12700">
            <a:noFill/>
          </a:ln>
          <a:effectLst>
            <a:outerShdw blurRad="254000" dist="12700" dir="16200000" algn="ctr" rotWithShape="0">
              <a:schemeClr val="tx1">
                <a:alpha val="30000"/>
              </a:schemeClr>
            </a:outerShdw>
          </a:effectLst>
        </p:spPr>
        <p:txBody>
          <a:bodyPr vert="horz" lIns="94702" tIns="47351" rIns="94702" bIns="4735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12738" y="4303713"/>
            <a:ext cx="4124325" cy="534987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de-DE" noProof="0" dirty="0" err="1"/>
              <a:t>asdf</a:t>
            </a:r>
            <a:endParaRPr lang="de-DE" noProof="0" dirty="0"/>
          </a:p>
          <a:p>
            <a:pPr lvl="6"/>
            <a:r>
              <a:rPr lang="de-DE" noProof="0" dirty="0" err="1"/>
              <a:t>Asdf</a:t>
            </a:r>
            <a:endParaRPr lang="de-DE" noProof="0" dirty="0"/>
          </a:p>
          <a:p>
            <a:pPr lvl="7"/>
            <a:r>
              <a:rPr lang="de-DE" noProof="0" dirty="0" err="1"/>
              <a:t>Asdf</a:t>
            </a:r>
            <a:endParaRPr lang="de-DE" noProof="0" dirty="0"/>
          </a:p>
          <a:p>
            <a:pPr lvl="8"/>
            <a:r>
              <a:rPr lang="de-DE" noProof="0" dirty="0" err="1"/>
              <a:t>asdf</a:t>
            </a:r>
            <a:endParaRPr lang="en-US" noProof="0" dirty="0"/>
          </a:p>
        </p:txBody>
      </p:sp>
      <p:sp>
        <p:nvSpPr>
          <p:cNvPr id="4915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  <p:cxnSp>
        <p:nvCxnSpPr>
          <p:cNvPr id="7" name="Straight Connector 6"/>
          <p:cNvCxnSpPr/>
          <p:nvPr/>
        </p:nvCxnSpPr>
        <p:spPr bwMode="gray">
          <a:xfrm flipH="1">
            <a:off x="4783138" y="46386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 bwMode="gray">
          <a:xfrm flipH="1">
            <a:off x="4783138" y="49736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 bwMode="gray">
          <a:xfrm flipH="1">
            <a:off x="4783138" y="53070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 bwMode="gray">
          <a:xfrm flipH="1">
            <a:off x="4783138" y="56419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gray">
          <a:xfrm flipH="1">
            <a:off x="4783138" y="59769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 bwMode="gray">
          <a:xfrm flipH="1">
            <a:off x="4783138" y="63103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 bwMode="gray">
          <a:xfrm flipH="1">
            <a:off x="4783138" y="66452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 bwMode="gray">
          <a:xfrm flipH="1">
            <a:off x="4783138" y="69786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 bwMode="gray">
          <a:xfrm flipH="1">
            <a:off x="4783138" y="73136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783138" y="76485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 flipH="1">
            <a:off x="4783138" y="79819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 bwMode="gray">
          <a:xfrm flipH="1">
            <a:off x="4783138" y="83169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 bwMode="gray">
          <a:xfrm flipH="1">
            <a:off x="4783138" y="86502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 bwMode="gray">
          <a:xfrm flipH="1">
            <a:off x="4783138" y="89852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 bwMode="gray">
          <a:xfrm flipH="1">
            <a:off x="4783138" y="93202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 bwMode="gray">
          <a:xfrm flipH="1">
            <a:off x="4783138" y="96535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173" name="TextBox 23"/>
          <p:cNvSpPr txBox="1">
            <a:spLocks noChangeArrowheads="1"/>
          </p:cNvSpPr>
          <p:nvPr/>
        </p:nvSpPr>
        <p:spPr bwMode="gray">
          <a:xfrm>
            <a:off x="4783138" y="4303713"/>
            <a:ext cx="1708150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en-US" altLang="de-DE" sz="900" b="0" cap="all" baseline="0" dirty="0">
                <a:solidFill>
                  <a:srgbClr val="7F7F7F"/>
                </a:solidFill>
                <a:latin typeface="adineue TEXT Light" panose="020B0303020201060004" pitchFamily="34" charset="0"/>
              </a:rPr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68732366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08781" indent="-108781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177800" indent="-1778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+mj-lt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266700" indent="-889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hausDIN" panose="020B0504020101020102" pitchFamily="34" charset="0"/>
      <a:buChar char="­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357188" indent="-176213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neue PRO TT Black" pitchFamily="34" charset="0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neue TEXT Black" panose="020B0A03020201060004" pitchFamily="34" charset="0"/>
        <a:ea typeface="+mn-ea"/>
        <a:cs typeface="+mn-cs"/>
      </a:defRPr>
    </a:lvl6pPr>
    <a:lvl7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Text Light Beta" pitchFamily="34" charset="0"/>
        <a:ea typeface="+mn-ea"/>
        <a:cs typeface="+mn-cs"/>
      </a:defRPr>
    </a:lvl7pPr>
    <a:lvl8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8pPr>
    <a:lvl9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5317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50446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579E7-A216-7943-B739-2EE41F1A2CF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359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579E7-A216-7943-B739-2EE41F1A2CF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8719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520562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9326637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9842" rtl="0" eaLnBrk="0" fontAlgn="base" latinLnBrk="0" hangingPunc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/>
              <a:defRPr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0152783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040673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14472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843773"/>
      </p:ext>
    </p:extLst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831399"/>
      </p:ext>
    </p:extLst>
  </p:cSld>
  <p:clrMapOvr>
    <a:masterClrMapping/>
  </p:clrMapOvr>
  <p:transition spd="med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061877"/>
      </p:ext>
    </p:extLst>
  </p:cSld>
  <p:clrMapOvr>
    <a:masterClrMapping/>
  </p:clrMapOvr>
  <p:transition spd="med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5962744"/>
      </p:ext>
    </p:extLst>
  </p:cSld>
  <p:clrMapOvr>
    <a:masterClrMapping/>
  </p:clrMapOvr>
  <p:transition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225404"/>
      </p:ext>
    </p:extLst>
  </p:cSld>
  <p:clrMapOvr>
    <a:masterClrMapping/>
  </p:clrMapOvr>
  <p:transition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9285856"/>
      </p:ext>
    </p:extLst>
  </p:cSld>
  <p:clrMapOvr>
    <a:masterClrMapping/>
  </p:clrMapOvr>
  <p:transition spd="med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1856034"/>
      </p:ext>
    </p:extLst>
  </p:cSld>
  <p:clrMapOvr>
    <a:masterClrMapping/>
  </p:clrMapOvr>
  <p:transition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0444761"/>
      </p:ext>
    </p:extLst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90544520"/>
      </p:ext>
    </p:extLst>
  </p:cSld>
  <p:clrMapOvr>
    <a:masterClrMapping/>
  </p:clrMapOvr>
  <p:transition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14237416"/>
      </p:ext>
    </p:extLst>
  </p:cSld>
  <p:clrMapOvr>
    <a:masterClrMapping/>
  </p:clrMapOvr>
  <p:transition spd="med"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35921524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7385984"/>
      </p:ext>
    </p:extLst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115935"/>
      </p:ext>
    </p:extLst>
  </p:cSld>
  <p:clrMapOvr>
    <a:masterClrMapping/>
  </p:clrMapOvr>
  <p:transition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0250200"/>
      </p:ext>
    </p:extLst>
  </p:cSld>
  <p:clrMapOvr>
    <a:masterClrMapping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065046"/>
      </p:ext>
    </p:extLst>
  </p:cSld>
  <p:clrMapOvr>
    <a:masterClrMapping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0745155"/>
      </p:ext>
    </p:extLst>
  </p:cSld>
  <p:clrMapOvr>
    <a:masterClrMapping/>
  </p:clrMapOvr>
  <p:transition spd="med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382781"/>
      </p:ext>
    </p:extLst>
  </p:cSld>
  <p:clrMapOvr>
    <a:masterClrMapping/>
  </p:clrMapOvr>
  <p:transition spd="med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3566698"/>
      </p:ext>
    </p:extLst>
  </p:cSld>
  <p:clrMapOvr>
    <a:masterClrMapping/>
  </p:clrMapOvr>
  <p:transition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596725"/>
      </p:ext>
    </p:extLst>
  </p:cSld>
  <p:clrMapOvr>
    <a:masterClrMapping/>
  </p:clrMapOvr>
  <p:transition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499237"/>
      </p:ext>
    </p:extLst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822639"/>
      </p:ext>
    </p:extLst>
  </p:cSld>
  <p:clrMapOvr>
    <a:masterClrMapping/>
  </p:clrMapOvr>
  <p:transition spd="med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069027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871873"/>
      </p:ext>
    </p:extLst>
  </p:cSld>
  <p:clrMapOvr>
    <a:masterClrMapping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75791"/>
      </p:ext>
    </p:extLst>
  </p:cSld>
  <p:clrMapOvr>
    <a:masterClrMapping/>
  </p:clrMapOvr>
  <p:transition spd="med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1016061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AR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777464"/>
      </p:ext>
    </p:extLst>
  </p:cSld>
  <p:clrMapOvr>
    <a:masterClrMapping/>
  </p:clrMapOvr>
  <p:transition spd="med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098032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61256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392001358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7999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026824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95617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31846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9470729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917816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49652375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891295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030896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280835682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3337995"/>
      </p:ext>
    </p:extLst>
  </p:cSld>
  <p:clrMapOvr>
    <a:masterClrMapping/>
  </p:clrMapOvr>
  <p:transition spd="med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372049"/>
      </p:ext>
    </p:extLst>
  </p:cSld>
  <p:clrMapOvr>
    <a:masterClrMapping/>
  </p:clrMapOvr>
  <p:transition spd="med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95520726"/>
      </p:ext>
    </p:extLst>
  </p:cSld>
  <p:clrMapOvr>
    <a:masterClrMapping/>
  </p:clrMapOvr>
  <p:transition spd="med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7034451"/>
      </p:ext>
    </p:extLst>
  </p:cSld>
  <p:clrMapOvr>
    <a:masterClrMapping/>
  </p:clrMapOvr>
  <p:transition spd="med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17669765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563412"/>
      </p:ext>
    </p:extLst>
  </p:cSld>
  <p:clrMapOvr>
    <a:masterClrMapping/>
  </p:clrMapOvr>
  <p:transition spd="med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147694"/>
      </p:ext>
    </p:extLst>
  </p:cSld>
  <p:clrMapOvr>
    <a:masterClrMapping/>
  </p:clrMapOvr>
  <p:transition spd="med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936310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978407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113407"/>
      </p:ext>
    </p:extLst>
  </p:cSld>
  <p:clrMapOvr>
    <a:masterClrMapping/>
  </p:clrMapOvr>
  <p:transition spd="med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9244217"/>
      </p:ext>
    </p:extLst>
  </p:cSld>
  <p:clrMapOvr>
    <a:masterClrMapping/>
  </p:clrMapOvr>
  <p:transition spd="med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244906"/>
      </p:ext>
    </p:extLst>
  </p:cSld>
  <p:clrMapOvr>
    <a:masterClrMapping/>
  </p:clrMapOvr>
  <p:transition spd="med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199190"/>
      </p:ext>
    </p:extLst>
  </p:cSld>
  <p:clrMapOvr>
    <a:masterClrMapping/>
  </p:clrMapOvr>
  <p:transition spd="med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315130"/>
      </p:ext>
    </p:extLst>
  </p:cSld>
  <p:clrMapOvr>
    <a:masterClrMapping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985402"/>
      </p:ext>
    </p:extLst>
  </p:cSld>
  <p:clrMapOvr>
    <a:masterClrMapping/>
  </p:clrMapOvr>
  <p:transition spd="med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110829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231990"/>
      </p:ext>
    </p:extLst>
  </p:cSld>
  <p:clrMapOvr>
    <a:masterClrMapping/>
  </p:clrMapOvr>
  <p:transition spd="med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5148398"/>
      </p:ext>
    </p:extLst>
  </p:cSld>
  <p:clrMapOvr>
    <a:masterClrMapping/>
  </p:clrMapOvr>
  <p:transition spd="med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8966119"/>
      </p:ext>
    </p:extLst>
  </p:cSld>
  <p:clrMapOvr>
    <a:masterClrMapping/>
  </p:clrMapOvr>
  <p:transition spd="med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6036487"/>
      </p:ext>
    </p:extLst>
  </p:cSld>
  <p:clrMapOvr>
    <a:masterClrMapping/>
  </p:clrMapOvr>
  <p:transition spd="med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9646416"/>
      </p:ext>
    </p:extLst>
  </p:cSld>
  <p:clrMapOvr>
    <a:masterClrMapping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4670076"/>
      </p:ext>
    </p:extLst>
  </p:cSld>
  <p:clrMapOvr>
    <a:masterClrMapping/>
  </p:clrMapOvr>
  <p:transition spd="med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41381797"/>
      </p:ext>
    </p:extLst>
  </p:cSld>
  <p:clrMapOvr>
    <a:masterClrMapping/>
  </p:clrMapOvr>
  <p:transition spd="med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05681958"/>
      </p:ext>
    </p:extLst>
  </p:cSld>
  <p:clrMapOvr>
    <a:masterClrMapping/>
  </p:clrMapOvr>
  <p:transition spd="med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376007"/>
      </p:ext>
    </p:extLst>
  </p:cSld>
  <p:clrMapOvr>
    <a:masterClrMapping/>
  </p:clrMapOvr>
  <p:transition spd="med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190980"/>
      </p:ext>
    </p:extLst>
  </p:cSld>
  <p:clrMapOvr>
    <a:masterClrMapping/>
  </p:clrMapOvr>
  <p:transition spd="med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999881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269053"/>
      </p:ext>
    </p:extLst>
  </p:cSld>
  <p:clrMapOvr>
    <a:masterClrMapping/>
  </p:clrMapOvr>
  <p:transition spd="med"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230696"/>
      </p:ext>
    </p:extLst>
  </p:cSld>
  <p:clrMapOvr>
    <a:masterClrMapping/>
  </p:clrMapOvr>
  <p:transition spd="med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148409"/>
      </p:ext>
    </p:extLst>
  </p:cSld>
  <p:clrMapOvr>
    <a:masterClrMapping/>
  </p:clrMapOvr>
  <p:transition spd="med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361720"/>
      </p:ext>
    </p:extLst>
  </p:cSld>
  <p:clrMapOvr>
    <a:masterClrMapping/>
  </p:clrMapOvr>
  <p:transition spd="med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515120"/>
      </p:ext>
    </p:extLst>
  </p:cSld>
  <p:clrMapOvr>
    <a:masterClrMapping/>
  </p:clrMapOvr>
  <p:transition spd="med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480701"/>
      </p:ext>
    </p:extLst>
  </p:cSld>
  <p:clrMapOvr>
    <a:masterClrMapping/>
  </p:clrMapOvr>
  <p:transition spd="med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058200"/>
      </p:ext>
    </p:extLst>
  </p:cSld>
  <p:clrMapOvr>
    <a:masterClrMapping/>
  </p:clrMapOvr>
  <p:transition spd="med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019053"/>
      </p:ext>
    </p:extLst>
  </p:cSld>
  <p:clrMapOvr>
    <a:masterClrMapping/>
  </p:clrMapOvr>
  <p:transition spd="med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914516"/>
      </p:ext>
    </p:extLst>
  </p:cSld>
  <p:clrMapOvr>
    <a:masterClrMapping/>
  </p:clrMapOvr>
  <p:transition spd="med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434861"/>
      </p:ext>
    </p:extLst>
  </p:cSld>
  <p:clrMapOvr>
    <a:masterClrMapping/>
  </p:clrMapOvr>
  <p:transition spd="med"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380939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7666022"/>
      </p:ext>
    </p:extLst>
  </p:cSld>
  <p:clrMapOvr>
    <a:masterClrMapping/>
  </p:clrMapOvr>
  <p:transition spd="med"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832499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907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06904285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176467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71016513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2074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910887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09559"/>
      </p:ext>
    </p:extLst>
  </p:cSld>
  <p:clrMapOvr>
    <a:masterClrMapping/>
  </p:clrMapOvr>
  <p:transition spd="med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8466972"/>
      </p:ext>
    </p:extLst>
  </p:cSld>
  <p:clrMapOvr>
    <a:masterClrMapping/>
  </p:clrMapOvr>
  <p:transition spd="med"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4356876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9316086"/>
      </p:ext>
    </p:extLst>
  </p:cSld>
  <p:clrMapOvr>
    <a:masterClrMapping/>
  </p:clrMapOvr>
  <p:transition spd="med"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3078578"/>
      </p:ext>
    </p:extLst>
  </p:cSld>
  <p:clrMapOvr>
    <a:masterClrMapping/>
  </p:clrMapOvr>
  <p:transition spd="med"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88855461"/>
      </p:ext>
    </p:extLst>
  </p:cSld>
  <p:clrMapOvr>
    <a:masterClrMapping/>
  </p:clrMapOvr>
  <p:transition spd="med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536121"/>
      </p:ext>
    </p:extLst>
  </p:cSld>
  <p:clrMapOvr>
    <a:masterClrMapping/>
  </p:clrMapOvr>
  <p:transition spd="med"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167162"/>
      </p:ext>
    </p:extLst>
  </p:cSld>
  <p:clrMapOvr>
    <a:masterClrMapping/>
  </p:clrMapOvr>
  <p:transition spd="med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590938"/>
      </p:ext>
    </p:extLst>
  </p:cSld>
  <p:clrMapOvr>
    <a:masterClrMapping/>
  </p:clrMapOvr>
  <p:transition spd="med"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477519"/>
      </p:ext>
    </p:extLst>
  </p:cSld>
  <p:clrMapOvr>
    <a:masterClrMapping/>
  </p:clrMapOvr>
  <p:transition spd="med"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7235075"/>
      </p:ext>
    </p:extLst>
  </p:cSld>
  <p:clrMapOvr>
    <a:masterClrMapping/>
  </p:clrMapOvr>
  <p:transition spd="med"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7391472"/>
      </p:ext>
    </p:extLst>
  </p:cSld>
  <p:clrMapOvr>
    <a:masterClrMapping/>
  </p:clrMapOvr>
  <p:transition spd="med"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910727"/>
      </p:ext>
    </p:extLst>
  </p:cSld>
  <p:clrMapOvr>
    <a:masterClrMapping/>
  </p:clrMapOvr>
  <p:transition spd="med"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054139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3973451"/>
      </p:ext>
    </p:extLst>
  </p:cSld>
  <p:clrMapOvr>
    <a:masterClrMapping/>
  </p:clrMapOvr>
  <p:transition spd="med"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796151"/>
      </p:ext>
    </p:extLst>
  </p:cSld>
  <p:clrMapOvr>
    <a:masterClrMapping/>
  </p:clrMapOvr>
  <p:transition spd="med"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222899"/>
      </p:ext>
    </p:extLst>
  </p:cSld>
  <p:clrMapOvr>
    <a:masterClrMapping/>
  </p:clrMapOvr>
  <p:transition spd="med"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5650687"/>
      </p:ext>
    </p:extLst>
  </p:cSld>
  <p:clrMapOvr>
    <a:masterClrMapping/>
  </p:clrMapOvr>
  <p:transition spd="med"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155354"/>
      </p:ext>
    </p:extLst>
  </p:cSld>
  <p:clrMapOvr>
    <a:masterClrMapping/>
  </p:clrMapOvr>
  <p:transition spd="med"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816811"/>
      </p:ext>
    </p:extLst>
  </p:cSld>
  <p:clrMapOvr>
    <a:masterClrMapping/>
  </p:clrMapOvr>
  <p:transition spd="med"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9963201"/>
      </p:ext>
    </p:extLst>
  </p:cSld>
  <p:clrMapOvr>
    <a:masterClrMapping/>
  </p:clrMapOvr>
  <p:transition spd="med"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8209813"/>
      </p:ext>
    </p:extLst>
  </p:cSld>
  <p:clrMapOvr>
    <a:masterClrMapping/>
  </p:clrMapOvr>
  <p:transition spd="med"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18966901"/>
      </p:ext>
    </p:extLst>
  </p:cSld>
  <p:clrMapOvr>
    <a:masterClrMapping/>
  </p:clrMapOvr>
  <p:transition spd="med"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61522062"/>
      </p:ext>
    </p:extLst>
  </p:cSld>
  <p:clrMapOvr>
    <a:masterClrMapping/>
  </p:clrMapOvr>
  <p:transition spd="med"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618692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373981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7321023"/>
      </p:ext>
    </p:extLst>
  </p:cSld>
  <p:clrMapOvr>
    <a:masterClrMapping/>
  </p:clrMapOvr>
  <p:transition spd="med"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499821"/>
      </p:ext>
    </p:extLst>
  </p:cSld>
  <p:clrMapOvr>
    <a:masterClrMapping/>
  </p:clrMapOvr>
  <p:transition spd="med"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649682"/>
      </p:ext>
    </p:extLst>
  </p:cSld>
  <p:clrMapOvr>
    <a:masterClrMapping/>
  </p:clrMapOvr>
  <p:transition spd="med"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3580493"/>
      </p:ext>
    </p:extLst>
  </p:cSld>
  <p:clrMapOvr>
    <a:masterClrMapping/>
  </p:clrMapOvr>
  <p:transition spd="med"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372652"/>
      </p:ext>
    </p:extLst>
  </p:cSld>
  <p:clrMapOvr>
    <a:masterClrMapping/>
  </p:clrMapOvr>
  <p:transition spd="med"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205420"/>
      </p:ext>
    </p:extLst>
  </p:cSld>
  <p:clrMapOvr>
    <a:masterClrMapping/>
  </p:clrMapOvr>
  <p:transition spd="med"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760349"/>
      </p:ext>
    </p:extLst>
  </p:cSld>
  <p:clrMapOvr>
    <a:masterClrMapping/>
  </p:clrMapOvr>
  <p:transition spd="med"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6935116"/>
      </p:ext>
    </p:extLst>
  </p:cSld>
  <p:clrMapOvr>
    <a:masterClrMapping/>
  </p:clrMapOvr>
  <p:transition spd="med"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727819"/>
      </p:ext>
    </p:extLst>
  </p:cSld>
  <p:clrMapOvr>
    <a:masterClrMapping/>
  </p:clrMapOvr>
  <p:transition spd="med"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9400325"/>
      </p:ext>
    </p:extLst>
  </p:cSld>
  <p:clrMapOvr>
    <a:masterClrMapping/>
  </p:clrMapOvr>
  <p:transition spd="med"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955491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5877919"/>
      </p:ext>
    </p:extLst>
  </p:cSld>
  <p:clrMapOvr>
    <a:masterClrMapping/>
  </p:clrMapOvr>
  <p:transition spd="med"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705717"/>
      </p:ext>
    </p:extLst>
  </p:cSld>
  <p:clrMapOvr>
    <a:masterClrMapping/>
  </p:clrMapOvr>
  <p:transition spd="med"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877868"/>
      </p:ext>
    </p:extLst>
  </p:cSld>
  <p:clrMapOvr>
    <a:masterClrMapping/>
  </p:clrMapOvr>
  <p:transition spd="med"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020743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281115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80723929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5630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422572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96514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55213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85074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62952428"/>
      </p:ext>
    </p:extLst>
  </p:cSld>
  <p:clrMapOvr>
    <a:masterClrMapping/>
  </p:clrMapOvr>
  <p:transition spd="med"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66572756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433303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293350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189204456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374089"/>
      </p:ext>
    </p:extLst>
  </p:cSld>
  <p:clrMapOvr>
    <a:masterClrMapping/>
  </p:clrMapOvr>
  <p:transition spd="med"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8009734"/>
      </p:ext>
    </p:extLst>
  </p:cSld>
  <p:clrMapOvr>
    <a:masterClrMapping/>
  </p:clrMapOvr>
  <p:transition spd="med"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75829768"/>
      </p:ext>
    </p:extLst>
  </p:cSld>
  <p:clrMapOvr>
    <a:masterClrMapping/>
  </p:clrMapOvr>
  <p:transition spd="med"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8228558"/>
      </p:ext>
    </p:extLst>
  </p:cSld>
  <p:clrMapOvr>
    <a:masterClrMapping/>
  </p:clrMapOvr>
  <p:transition spd="med"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77717474"/>
      </p:ext>
    </p:extLst>
  </p:cSld>
  <p:clrMapOvr>
    <a:masterClrMapping/>
  </p:clrMapOvr>
  <p:transition spd="med"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96276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854526"/>
      </p:ext>
    </p:extLst>
  </p:cSld>
  <p:clrMapOvr>
    <a:masterClrMapping/>
  </p:clrMapOvr>
  <p:transition spd="med"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382222"/>
      </p:ext>
    </p:extLst>
  </p:cSld>
  <p:clrMapOvr>
    <a:masterClrMapping/>
  </p:clrMapOvr>
  <p:transition spd="med"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649322"/>
      </p:ext>
    </p:extLst>
  </p:cSld>
  <p:clrMapOvr>
    <a:masterClrMapping/>
  </p:clrMapOvr>
  <p:transition spd="med"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262320"/>
      </p:ext>
    </p:extLst>
  </p:cSld>
  <p:clrMapOvr>
    <a:masterClrMapping/>
  </p:clrMapOvr>
  <p:transition spd="med"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8992515"/>
      </p:ext>
    </p:extLst>
  </p:cSld>
  <p:clrMapOvr>
    <a:masterClrMapping/>
  </p:clrMapOvr>
  <p:transition spd="med"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728966"/>
      </p:ext>
    </p:extLst>
  </p:cSld>
  <p:clrMapOvr>
    <a:masterClrMapping/>
  </p:clrMapOvr>
  <p:transition spd="med"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2713595"/>
      </p:ext>
    </p:extLst>
  </p:cSld>
  <p:clrMapOvr>
    <a:masterClrMapping/>
  </p:clrMapOvr>
  <p:transition spd="med"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518306"/>
      </p:ext>
    </p:extLst>
  </p:cSld>
  <p:clrMapOvr>
    <a:masterClrMapping/>
  </p:clrMapOvr>
  <p:transition spd="med"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500759"/>
      </p:ext>
    </p:extLst>
  </p:cSld>
  <p:clrMapOvr>
    <a:masterClrMapping/>
  </p:clrMapOvr>
  <p:transition spd="med"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974029"/>
      </p:ext>
    </p:extLst>
  </p:cSld>
  <p:clrMapOvr>
    <a:masterClrMapping/>
  </p:clrMapOvr>
  <p:transition spd="med"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010230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493421"/>
      </p:ext>
    </p:extLst>
  </p:cSld>
  <p:clrMapOvr>
    <a:masterClrMapping/>
  </p:clrMapOvr>
  <p:transition spd="med"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000128"/>
      </p:ext>
    </p:extLst>
  </p:cSld>
  <p:clrMapOvr>
    <a:masterClrMapping/>
  </p:clrMapOvr>
  <p:transition spd="med"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5255841"/>
      </p:ext>
    </p:extLst>
  </p:cSld>
  <p:clrMapOvr>
    <a:masterClrMapping/>
  </p:clrMapOvr>
  <p:transition spd="med"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3432731"/>
      </p:ext>
    </p:extLst>
  </p:cSld>
  <p:clrMapOvr>
    <a:masterClrMapping/>
  </p:clrMapOvr>
  <p:transition spd="med"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7285741"/>
      </p:ext>
    </p:extLst>
  </p:cSld>
  <p:clrMapOvr>
    <a:masterClrMapping/>
  </p:clrMapOvr>
  <p:transition spd="med"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40802674"/>
      </p:ext>
    </p:extLst>
  </p:cSld>
  <p:clrMapOvr>
    <a:masterClrMapping/>
  </p:clrMapOvr>
  <p:transition spd="med"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40921774"/>
      </p:ext>
    </p:extLst>
  </p:cSld>
  <p:clrMapOvr>
    <a:masterClrMapping/>
  </p:clrMapOvr>
  <p:transition spd="med"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0394710"/>
      </p:ext>
    </p:extLst>
  </p:cSld>
  <p:clrMapOvr>
    <a:masterClrMapping/>
  </p:clrMapOvr>
  <p:transition spd="med"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28283"/>
      </p:ext>
    </p:extLst>
  </p:cSld>
  <p:clrMapOvr>
    <a:masterClrMapping/>
  </p:clrMapOvr>
  <p:transition spd="med"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712096"/>
      </p:ext>
    </p:extLst>
  </p:cSld>
  <p:clrMapOvr>
    <a:masterClrMapping/>
  </p:clrMapOvr>
  <p:transition spd="med"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252070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457983"/>
      </p:ext>
    </p:extLst>
  </p:cSld>
  <p:clrMapOvr>
    <a:masterClrMapping/>
  </p:clrMapOvr>
  <p:transition spd="med"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857014"/>
      </p:ext>
    </p:extLst>
  </p:cSld>
  <p:clrMapOvr>
    <a:masterClrMapping/>
  </p:clrMapOvr>
  <p:transition spd="med"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987129"/>
      </p:ext>
    </p:extLst>
  </p:cSld>
  <p:clrMapOvr>
    <a:masterClrMapping/>
  </p:clrMapOvr>
  <p:transition spd="med"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0868759"/>
      </p:ext>
    </p:extLst>
  </p:cSld>
  <p:clrMapOvr>
    <a:masterClrMapping/>
  </p:clrMapOvr>
  <p:transition spd="med"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396912"/>
      </p:ext>
    </p:extLst>
  </p:cSld>
  <p:clrMapOvr>
    <a:masterClrMapping/>
  </p:clrMapOvr>
  <p:transition spd="med"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3803017"/>
      </p:ext>
    </p:extLst>
  </p:cSld>
  <p:clrMapOvr>
    <a:masterClrMapping/>
  </p:clrMapOvr>
  <p:transition spd="med"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629898"/>
      </p:ext>
    </p:extLst>
  </p:cSld>
  <p:clrMapOvr>
    <a:masterClrMapping/>
  </p:clrMapOvr>
  <p:transition spd="med"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432339"/>
      </p:ext>
    </p:extLst>
  </p:cSld>
  <p:clrMapOvr>
    <a:masterClrMapping/>
  </p:clrMapOvr>
  <p:transition spd="med"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2703786"/>
      </p:ext>
    </p:extLst>
  </p:cSld>
  <p:clrMapOvr>
    <a:masterClrMapping/>
  </p:clrMapOvr>
  <p:transition spd="med"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5786313"/>
      </p:ext>
    </p:extLst>
  </p:cSld>
  <p:clrMapOvr>
    <a:masterClrMapping/>
  </p:clrMapOvr>
  <p:transition spd="med"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65131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175093"/>
      </p:ext>
    </p:extLst>
  </p:cSld>
  <p:clrMapOvr>
    <a:masterClrMapping/>
  </p:clrMapOvr>
  <p:transition spd="med"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93174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29957589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64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0093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6265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03671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488441376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357487"/>
      </p:ext>
    </p:extLst>
  </p:cSld>
  <p:clrMapOvr>
    <a:masterClrMapping/>
  </p:clrMapOvr>
  <p:transition spd="med"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3893480"/>
      </p:ext>
    </p:extLst>
  </p:cSld>
  <p:clrMapOvr>
    <a:masterClrMapping/>
  </p:clrMapOvr>
  <p:transition spd="med"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4415224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9379685"/>
      </p:ext>
    </p:extLst>
  </p:cSld>
  <p:clrMapOvr>
    <a:masterClrMapping/>
  </p:clrMapOvr>
  <p:transition spd="med"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99415014"/>
      </p:ext>
    </p:extLst>
  </p:cSld>
  <p:clrMapOvr>
    <a:masterClrMapping/>
  </p:clrMapOvr>
  <p:transition spd="med"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90294679"/>
      </p:ext>
    </p:extLst>
  </p:cSld>
  <p:clrMapOvr>
    <a:masterClrMapping/>
  </p:clrMapOvr>
  <p:transition spd="med"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169417"/>
      </p:ext>
    </p:extLst>
  </p:cSld>
  <p:clrMapOvr>
    <a:masterClrMapping/>
  </p:clrMapOvr>
  <p:transition spd="med"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033703"/>
      </p:ext>
    </p:extLst>
  </p:cSld>
  <p:clrMapOvr>
    <a:masterClrMapping/>
  </p:clrMapOvr>
  <p:transition spd="med"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364633"/>
      </p:ext>
    </p:extLst>
  </p:cSld>
  <p:clrMapOvr>
    <a:masterClrMapping/>
  </p:clrMapOvr>
  <p:transition spd="med"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5294481"/>
      </p:ext>
    </p:extLst>
  </p:cSld>
  <p:clrMapOvr>
    <a:masterClrMapping/>
  </p:clrMapOvr>
  <p:transition spd="med"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0144867"/>
      </p:ext>
    </p:extLst>
  </p:cSld>
  <p:clrMapOvr>
    <a:masterClrMapping/>
  </p:clrMapOvr>
  <p:transition spd="med"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189997"/>
      </p:ext>
    </p:extLst>
  </p:cSld>
  <p:clrMapOvr>
    <a:masterClrMapping/>
  </p:clrMapOvr>
  <p:transition spd="med"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829061"/>
      </p:ext>
    </p:extLst>
  </p:cSld>
  <p:clrMapOvr>
    <a:masterClrMapping/>
  </p:clrMapOvr>
  <p:transition spd="med"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437529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565967"/>
      </p:ext>
    </p:extLst>
  </p:cSld>
  <p:clrMapOvr>
    <a:masterClrMapping/>
  </p:clrMapOvr>
  <p:transition spd="med"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962282"/>
      </p:ext>
    </p:extLst>
  </p:cSld>
  <p:clrMapOvr>
    <a:masterClrMapping/>
  </p:clrMapOvr>
  <p:transition spd="med"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6019892"/>
      </p:ext>
    </p:extLst>
  </p:cSld>
  <p:clrMapOvr>
    <a:masterClrMapping/>
  </p:clrMapOvr>
  <p:transition spd="med"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5304288"/>
      </p:ext>
    </p:extLst>
  </p:cSld>
  <p:clrMapOvr>
    <a:masterClrMapping/>
  </p:clrMapOvr>
  <p:transition spd="med"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1484031"/>
      </p:ext>
    </p:extLst>
  </p:cSld>
  <p:clrMapOvr>
    <a:masterClrMapping/>
  </p:clrMapOvr>
  <p:transition spd="med"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2064912"/>
      </p:ext>
    </p:extLst>
  </p:cSld>
  <p:clrMapOvr>
    <a:masterClrMapping/>
  </p:clrMapOvr>
  <p:transition spd="med"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004530"/>
      </p:ext>
    </p:extLst>
  </p:cSld>
  <p:clrMapOvr>
    <a:masterClrMapping/>
  </p:clrMapOvr>
  <p:transition spd="med"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6078915"/>
      </p:ext>
    </p:extLst>
  </p:cSld>
  <p:clrMapOvr>
    <a:masterClrMapping/>
  </p:clrMapOvr>
  <p:transition spd="med"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5472167"/>
      </p:ext>
    </p:extLst>
  </p:cSld>
  <p:clrMapOvr>
    <a:masterClrMapping/>
  </p:clrMapOvr>
  <p:transition spd="med"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49696898"/>
      </p:ext>
    </p:extLst>
  </p:cSld>
  <p:clrMapOvr>
    <a:masterClrMapping/>
  </p:clrMapOvr>
  <p:transition spd="med"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06102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213871"/>
      </p:ext>
    </p:extLst>
  </p:cSld>
  <p:clrMapOvr>
    <a:masterClrMapping/>
  </p:clrMapOvr>
  <p:transition spd="med"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297352"/>
      </p:ext>
    </p:extLst>
  </p:cSld>
  <p:clrMapOvr>
    <a:masterClrMapping/>
  </p:clrMapOvr>
  <p:transition spd="med"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083252"/>
      </p:ext>
    </p:extLst>
  </p:cSld>
  <p:clrMapOvr>
    <a:masterClrMapping/>
  </p:clrMapOvr>
  <p:transition spd="med"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231722"/>
      </p:ext>
    </p:extLst>
  </p:cSld>
  <p:clrMapOvr>
    <a:masterClrMapping/>
  </p:clrMapOvr>
  <p:transition spd="med"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222356"/>
      </p:ext>
    </p:extLst>
  </p:cSld>
  <p:clrMapOvr>
    <a:masterClrMapping/>
  </p:clrMapOvr>
  <p:transition spd="med"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882011"/>
      </p:ext>
    </p:extLst>
  </p:cSld>
  <p:clrMapOvr>
    <a:masterClrMapping/>
  </p:clrMapOvr>
  <p:transition spd="med"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790394"/>
      </p:ext>
    </p:extLst>
  </p:cSld>
  <p:clrMapOvr>
    <a:masterClrMapping/>
  </p:clrMapOvr>
  <p:transition spd="med"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514225"/>
      </p:ext>
    </p:extLst>
  </p:cSld>
  <p:clrMapOvr>
    <a:masterClrMapping/>
  </p:clrMapOvr>
  <p:transition spd="med"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7588592"/>
      </p:ext>
    </p:extLst>
  </p:cSld>
  <p:clrMapOvr>
    <a:masterClrMapping/>
  </p:clrMapOvr>
  <p:transition spd="med"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563418"/>
      </p:ext>
    </p:extLst>
  </p:cSld>
  <p:clrMapOvr>
    <a:masterClrMapping/>
  </p:clrMapOvr>
  <p:transition spd="med"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510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3932026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1422289"/>
      </p:ext>
    </p:extLst>
  </p:cSld>
  <p:clrMapOvr>
    <a:masterClrMapping/>
  </p:clrMapOvr>
  <p:transition spd="med"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1412345"/>
      </p:ext>
    </p:extLst>
  </p:cSld>
  <p:clrMapOvr>
    <a:masterClrMapping/>
  </p:clrMapOvr>
  <p:transition spd="med"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ERGY 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0128685"/>
      </p:ext>
    </p:extLst>
  </p:cSld>
  <p:clrMapOvr>
    <a:masterClrMapping/>
  </p:clrMapOvr>
  <p:transition spd="med"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5D35D9-E607-BF40-B6E5-A51007B8B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B38B5C-91B3-2642-BA1F-46DC4110E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A2344-E2A4-8044-A72E-3F965E49C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59185"/>
      </p:ext>
    </p:extLst>
  </p:cSld>
  <p:clrMapOvr>
    <a:masterClrMapping/>
  </p:clrMapOvr>
  <p:hf hdr="0"/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F27CD6-2B48-5D4A-A4E2-07F6FC01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345652"/>
            <a:ext cx="2972218" cy="1209781"/>
          </a:xfrm>
        </p:spPr>
        <p:txBody>
          <a:bodyPr anchor="b"/>
          <a:lstStyle>
            <a:lvl1pPr>
              <a:defRPr sz="2419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3337DE-71E3-4246-80CB-D516575ED5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7762" y="746512"/>
            <a:ext cx="4665315" cy="3684551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110611-76D5-7343-982B-AB1AE44F4D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4762" y="1555433"/>
            <a:ext cx="2972218" cy="2881631"/>
          </a:xfrm>
        </p:spPr>
        <p:txBody>
          <a:bodyPr/>
          <a:lstStyle>
            <a:lvl1pPr marL="0" indent="0">
              <a:buNone/>
              <a:defRPr sz="1209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BC62D0-21C8-0B4E-B90C-87071781C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C3A7A7-E2B5-5F4A-8AA6-992D0B08E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6638D9-B529-5141-A031-860B32CE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198307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835044676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89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8253111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5F40E6-2BF6-0F4B-8BA1-FA28AE375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276042"/>
            <a:ext cx="7948315" cy="10021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318E55-3B33-0745-8A40-86BC2CBB3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4762" y="1270990"/>
            <a:ext cx="3898562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03D7A9-FD4D-364E-98EC-BBBC48567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762" y="1893883"/>
            <a:ext cx="3898562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CA12C7-0945-1B46-9EF1-6FBD54390C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65316" y="1270990"/>
            <a:ext cx="3917761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FC6098-ABE4-0C4F-931F-16C79CF71F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65316" y="1893883"/>
            <a:ext cx="3917761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E4CD9D-50E9-AD42-A420-113CF235E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CBB676-CD34-0342-BECD-2C6BBEA8C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7343410-A074-A444-8A05-5E6AC1BA5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431320"/>
      </p:ext>
    </p:extLst>
  </p:cSld>
  <p:clrMapOvr>
    <a:masterClrMapping/>
  </p:clrMapOvr>
  <p:hf hdr="0"/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1D845-B157-FD49-911B-6515C6E79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762" y="1292594"/>
            <a:ext cx="7948315" cy="2156722"/>
          </a:xfrm>
        </p:spPr>
        <p:txBody>
          <a:bodyPr anchor="b"/>
          <a:lstStyle>
            <a:lvl1pPr>
              <a:defRPr sz="4535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6CD1CC-ABE4-1F41-8512-58CBAFDD2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762" y="3469719"/>
            <a:ext cx="7948315" cy="1134169"/>
          </a:xfrm>
        </p:spPr>
        <p:txBody>
          <a:bodyPr/>
          <a:lstStyle>
            <a:lvl1pPr marL="0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1pPr>
            <a:lvl2pPr marL="345597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6A6A45-B351-7E48-9F78-01C13AEB4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BACDCD-8202-2341-BB90-81FE9519C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85E0B3-631F-7945-B27C-2484B8935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434566"/>
      </p:ext>
    </p:extLst>
  </p:cSld>
  <p:clrMapOvr>
    <a:masterClrMapping/>
  </p:clrMapOvr>
  <p:hf hdr="0"/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C8E340-39AB-B744-AA9B-E98721F80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4584C-4A56-BB4C-9EDF-99A437658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EE8BE4-94EC-5841-AC28-38EEEB6E2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D7952-2380-2840-B3F3-F2529EC4F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64DDA3-423A-5940-ABCF-50B7207CA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555781"/>
      </p:ext>
    </p:extLst>
  </p:cSld>
  <p:clrMapOvr>
    <a:masterClrMapping/>
  </p:clrMapOvr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720700"/>
      </p:ext>
    </p:extLst>
  </p:cSld>
  <p:clrMapOvr>
    <a:masterClrMapping/>
  </p:clrMapOvr>
  <p:transition spd="med"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606395648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0809800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8113640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6918245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951457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1657140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135209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2957391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5D35D9-E607-BF40-B6E5-A51007B8B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B38B5C-91B3-2642-BA1F-46DC4110E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A2344-E2A4-8044-A72E-3F965E49C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828124"/>
      </p:ext>
    </p:extLst>
  </p:cSld>
  <p:clrMapOvr>
    <a:masterClrMapping/>
  </p:clrMapOvr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F27CD6-2B48-5D4A-A4E2-07F6FC01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345652"/>
            <a:ext cx="2972218" cy="1209781"/>
          </a:xfrm>
        </p:spPr>
        <p:txBody>
          <a:bodyPr anchor="b"/>
          <a:lstStyle>
            <a:lvl1pPr>
              <a:defRPr sz="2419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3337DE-71E3-4246-80CB-D516575ED5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7762" y="746512"/>
            <a:ext cx="4665315" cy="3684551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110611-76D5-7343-982B-AB1AE44F4D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4762" y="1555433"/>
            <a:ext cx="2972218" cy="2881631"/>
          </a:xfrm>
        </p:spPr>
        <p:txBody>
          <a:bodyPr/>
          <a:lstStyle>
            <a:lvl1pPr marL="0" indent="0">
              <a:buNone/>
              <a:defRPr sz="1209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BC62D0-21C8-0B4E-B90C-87071781C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C3A7A7-E2B5-5F4A-8AA6-992D0B08E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6638D9-B529-5141-A031-860B32CE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84705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2585682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8310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5100839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3612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5F40E6-2BF6-0F4B-8BA1-FA28AE375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276042"/>
            <a:ext cx="7948315" cy="10021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318E55-3B33-0745-8A40-86BC2CBB3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4762" y="1270990"/>
            <a:ext cx="3898562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03D7A9-FD4D-364E-98EC-BBBC48567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762" y="1893883"/>
            <a:ext cx="3898562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CA12C7-0945-1B46-9EF1-6FBD54390C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65316" y="1270990"/>
            <a:ext cx="3917761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FC6098-ABE4-0C4F-931F-16C79CF71F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65316" y="1893883"/>
            <a:ext cx="3917761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E4CD9D-50E9-AD42-A420-113CF235E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CBB676-CD34-0342-BECD-2C6BBEA8C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7343410-A074-A444-8A05-5E6AC1BA5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054387"/>
      </p:ext>
    </p:extLst>
  </p:cSld>
  <p:clrMapOvr>
    <a:masterClrMapping/>
  </p:clrMapOvr>
  <p:hf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1D845-B157-FD49-911B-6515C6E79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762" y="1292594"/>
            <a:ext cx="7948315" cy="2156722"/>
          </a:xfrm>
        </p:spPr>
        <p:txBody>
          <a:bodyPr anchor="b"/>
          <a:lstStyle>
            <a:lvl1pPr>
              <a:defRPr sz="4535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6CD1CC-ABE4-1F41-8512-58CBAFDD2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762" y="3469719"/>
            <a:ext cx="7948315" cy="1134169"/>
          </a:xfrm>
        </p:spPr>
        <p:txBody>
          <a:bodyPr/>
          <a:lstStyle>
            <a:lvl1pPr marL="0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1pPr>
            <a:lvl2pPr marL="345597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6A6A45-B351-7E48-9F78-01C13AEB4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BACDCD-8202-2341-BB90-81FE9519C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85E0B3-631F-7945-B27C-2484B8935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492970"/>
      </p:ext>
    </p:extLst>
  </p:cSld>
  <p:clrMapOvr>
    <a:masterClrMapping/>
  </p:clrMapOvr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C8E340-39AB-B744-AA9B-E98721F80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4584C-4A56-BB4C-9EDF-99A437658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EE8BE4-94EC-5841-AC28-38EEEB6E2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D7952-2380-2840-B3F3-F2529EC4F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64DDA3-423A-5940-ABCF-50B7207CA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4383674"/>
      </p:ext>
    </p:extLst>
  </p:cSld>
  <p:clrMapOvr>
    <a:masterClrMapping/>
  </p:clrMapOvr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367804280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57937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47170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198879217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498680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2318564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5886964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69505418"/>
      </p:ext>
    </p:extLst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62656902"/>
      </p:ext>
    </p:extLst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891441"/>
      </p:ext>
    </p:extLst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5521"/>
      </p:ext>
    </p:extLst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9245906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1257924"/>
      </p:ext>
    </p:extLst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8016953"/>
      </p:ext>
    </p:extLst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7518987"/>
      </p:ext>
    </p:extLst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362453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896346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513968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349739"/>
      </p:ext>
    </p:extLst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202401"/>
      </p:ext>
    </p:extLst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946851"/>
      </p:ext>
    </p:extLst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841320"/>
      </p:ext>
    </p:extLst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0737647"/>
      </p:ext>
    </p:extLst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5452625"/>
      </p:ext>
    </p:extLst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3144028"/>
      </p:ext>
    </p:extLst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442671"/>
      </p:ext>
    </p:extLst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35235441"/>
      </p:ext>
    </p:extLst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4421818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529075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666550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828615"/>
      </p:ext>
    </p:extLst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3173825"/>
      </p:ext>
    </p:extLst>
  </p:cSld>
  <p:clrMapOvr>
    <a:masterClrMapping/>
  </p:clrMapOvr>
  <p:transition spd="med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047631"/>
      </p:ext>
    </p:extLst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158852"/>
      </p:ext>
    </p:extLst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051894"/>
      </p:ext>
    </p:extLst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567609"/>
      </p:ext>
    </p:extLst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98283"/>
      </p:ext>
    </p:extLst>
  </p:cSld>
  <p:clrMapOvr>
    <a:masterClrMapping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085266"/>
      </p:ext>
    </p:extLst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950653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48371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242083"/>
      </p:ext>
    </p:extLst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642246"/>
      </p:ext>
    </p:extLst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3378300"/>
      </p:ext>
    </p:extLst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636008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45459942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439901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956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211728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246767"/>
      </p:ext>
    </p:extLst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566738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8938552"/>
      </p:ext>
    </p:extLst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15120096"/>
      </p:ext>
    </p:extLst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27777097"/>
      </p:ext>
    </p:extLst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97536164"/>
      </p:ext>
    </p:extLst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266201"/>
      </p:ext>
    </p:extLst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460721"/>
      </p:ext>
    </p:extLst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798437"/>
      </p:ext>
    </p:extLst>
  </p:cSld>
  <p:clrMapOvr>
    <a:masterClrMapping/>
  </p:clrMapOvr>
  <p:transition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85759"/>
      </p:ext>
    </p:extLst>
  </p:cSld>
  <p:clrMapOvr>
    <a:masterClrMapping/>
  </p:clrMapOvr>
  <p:transition spd="med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7091038"/>
      </p:ext>
    </p:extLst>
  </p:cSld>
  <p:clrMapOvr>
    <a:masterClrMapping/>
  </p:clrMapOvr>
  <p:transition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66564"/>
      </p:ext>
    </p:extLst>
  </p:cSld>
  <p:clrMapOvr>
    <a:masterClrMapping/>
  </p:clrMapOvr>
  <p:transition spd="med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618388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9" Type="http://schemas.openxmlformats.org/officeDocument/2006/relationships/slideLayout" Target="../slideLayouts/slideLayout86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slideLayout" Target="../slideLayouts/slideLayout76.xml"/><Relationship Id="rId41" Type="http://schemas.openxmlformats.org/officeDocument/2006/relationships/theme" Target="../theme/theme2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78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26" Type="http://schemas.openxmlformats.org/officeDocument/2006/relationships/slideLayout" Target="../slideLayouts/slideLayout113.xml"/><Relationship Id="rId39" Type="http://schemas.openxmlformats.org/officeDocument/2006/relationships/slideLayout" Target="../slideLayouts/slideLayout126.xml"/><Relationship Id="rId21" Type="http://schemas.openxmlformats.org/officeDocument/2006/relationships/slideLayout" Target="../slideLayouts/slideLayout108.xml"/><Relationship Id="rId34" Type="http://schemas.openxmlformats.org/officeDocument/2006/relationships/slideLayout" Target="../slideLayouts/slideLayout121.xml"/><Relationship Id="rId42" Type="http://schemas.openxmlformats.org/officeDocument/2006/relationships/slideLayout" Target="../slideLayouts/slideLayout129.xml"/><Relationship Id="rId47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9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111.xml"/><Relationship Id="rId32" Type="http://schemas.openxmlformats.org/officeDocument/2006/relationships/slideLayout" Target="../slideLayouts/slideLayout119.xml"/><Relationship Id="rId37" Type="http://schemas.openxmlformats.org/officeDocument/2006/relationships/slideLayout" Target="../slideLayouts/slideLayout124.xml"/><Relationship Id="rId40" Type="http://schemas.openxmlformats.org/officeDocument/2006/relationships/slideLayout" Target="../slideLayouts/slideLayout127.xml"/><Relationship Id="rId45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28" Type="http://schemas.openxmlformats.org/officeDocument/2006/relationships/slideLayout" Target="../slideLayouts/slideLayout115.xml"/><Relationship Id="rId36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31" Type="http://schemas.openxmlformats.org/officeDocument/2006/relationships/slideLayout" Target="../slideLayouts/slideLayout118.xml"/><Relationship Id="rId44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4.xml"/><Relationship Id="rId30" Type="http://schemas.openxmlformats.org/officeDocument/2006/relationships/slideLayout" Target="../slideLayouts/slideLayout117.xml"/><Relationship Id="rId35" Type="http://schemas.openxmlformats.org/officeDocument/2006/relationships/slideLayout" Target="../slideLayouts/slideLayout122.xml"/><Relationship Id="rId43" Type="http://schemas.openxmlformats.org/officeDocument/2006/relationships/slideLayout" Target="../slideLayouts/slideLayout130.xml"/><Relationship Id="rId48" Type="http://schemas.openxmlformats.org/officeDocument/2006/relationships/theme" Target="../theme/theme3.xml"/><Relationship Id="rId8" Type="http://schemas.openxmlformats.org/officeDocument/2006/relationships/slideLayout" Target="../slideLayouts/slideLayout95.xml"/><Relationship Id="rId3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33" Type="http://schemas.openxmlformats.org/officeDocument/2006/relationships/slideLayout" Target="../slideLayouts/slideLayout120.xml"/><Relationship Id="rId38" Type="http://schemas.openxmlformats.org/officeDocument/2006/relationships/slideLayout" Target="../slideLayouts/slideLayout125.xml"/><Relationship Id="rId46" Type="http://schemas.openxmlformats.org/officeDocument/2006/relationships/slideLayout" Target="../slideLayouts/slideLayout133.xml"/><Relationship Id="rId20" Type="http://schemas.openxmlformats.org/officeDocument/2006/relationships/slideLayout" Target="../slideLayouts/slideLayout107.xml"/><Relationship Id="rId41" Type="http://schemas.openxmlformats.org/officeDocument/2006/relationships/slideLayout" Target="../slideLayouts/slideLayout12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7.xml"/><Relationship Id="rId18" Type="http://schemas.openxmlformats.org/officeDocument/2006/relationships/slideLayout" Target="../slideLayouts/slideLayout152.xml"/><Relationship Id="rId26" Type="http://schemas.openxmlformats.org/officeDocument/2006/relationships/slideLayout" Target="../slideLayouts/slideLayout160.xml"/><Relationship Id="rId39" Type="http://schemas.openxmlformats.org/officeDocument/2006/relationships/slideLayout" Target="../slideLayouts/slideLayout173.xml"/><Relationship Id="rId21" Type="http://schemas.openxmlformats.org/officeDocument/2006/relationships/slideLayout" Target="../slideLayouts/slideLayout155.xml"/><Relationship Id="rId34" Type="http://schemas.openxmlformats.org/officeDocument/2006/relationships/slideLayout" Target="../slideLayouts/slideLayout168.xml"/><Relationship Id="rId42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36.xml"/><Relationship Id="rId16" Type="http://schemas.openxmlformats.org/officeDocument/2006/relationships/slideLayout" Target="../slideLayouts/slideLayout150.xml"/><Relationship Id="rId20" Type="http://schemas.openxmlformats.org/officeDocument/2006/relationships/slideLayout" Target="../slideLayouts/slideLayout154.xml"/><Relationship Id="rId29" Type="http://schemas.openxmlformats.org/officeDocument/2006/relationships/slideLayout" Target="../slideLayouts/slideLayout163.xml"/><Relationship Id="rId41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24" Type="http://schemas.openxmlformats.org/officeDocument/2006/relationships/slideLayout" Target="../slideLayouts/slideLayout158.xml"/><Relationship Id="rId32" Type="http://schemas.openxmlformats.org/officeDocument/2006/relationships/slideLayout" Target="../slideLayouts/slideLayout166.xml"/><Relationship Id="rId37" Type="http://schemas.openxmlformats.org/officeDocument/2006/relationships/slideLayout" Target="../slideLayouts/slideLayout171.xml"/><Relationship Id="rId40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39.xml"/><Relationship Id="rId15" Type="http://schemas.openxmlformats.org/officeDocument/2006/relationships/slideLayout" Target="../slideLayouts/slideLayout149.xml"/><Relationship Id="rId23" Type="http://schemas.openxmlformats.org/officeDocument/2006/relationships/slideLayout" Target="../slideLayouts/slideLayout157.xml"/><Relationship Id="rId28" Type="http://schemas.openxmlformats.org/officeDocument/2006/relationships/slideLayout" Target="../slideLayouts/slideLayout162.xml"/><Relationship Id="rId36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44.xml"/><Relationship Id="rId19" Type="http://schemas.openxmlformats.org/officeDocument/2006/relationships/slideLayout" Target="../slideLayouts/slideLayout153.xml"/><Relationship Id="rId31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Relationship Id="rId22" Type="http://schemas.openxmlformats.org/officeDocument/2006/relationships/slideLayout" Target="../slideLayouts/slideLayout156.xml"/><Relationship Id="rId27" Type="http://schemas.openxmlformats.org/officeDocument/2006/relationships/slideLayout" Target="../slideLayouts/slideLayout161.xml"/><Relationship Id="rId30" Type="http://schemas.openxmlformats.org/officeDocument/2006/relationships/slideLayout" Target="../slideLayouts/slideLayout164.xml"/><Relationship Id="rId35" Type="http://schemas.openxmlformats.org/officeDocument/2006/relationships/slideLayout" Target="../slideLayouts/slideLayout169.xml"/><Relationship Id="rId43" Type="http://schemas.openxmlformats.org/officeDocument/2006/relationships/theme" Target="../theme/theme4.xml"/><Relationship Id="rId8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6.xml"/><Relationship Id="rId17" Type="http://schemas.openxmlformats.org/officeDocument/2006/relationships/slideLayout" Target="../slideLayouts/slideLayout151.xml"/><Relationship Id="rId25" Type="http://schemas.openxmlformats.org/officeDocument/2006/relationships/slideLayout" Target="../slideLayouts/slideLayout159.xml"/><Relationship Id="rId33" Type="http://schemas.openxmlformats.org/officeDocument/2006/relationships/slideLayout" Target="../slideLayouts/slideLayout167.xml"/><Relationship Id="rId38" Type="http://schemas.openxmlformats.org/officeDocument/2006/relationships/slideLayout" Target="../slideLayouts/slideLayout172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9.xml"/><Relationship Id="rId18" Type="http://schemas.openxmlformats.org/officeDocument/2006/relationships/slideLayout" Target="../slideLayouts/slideLayout194.xml"/><Relationship Id="rId26" Type="http://schemas.openxmlformats.org/officeDocument/2006/relationships/slideLayout" Target="../slideLayouts/slideLayout202.xml"/><Relationship Id="rId39" Type="http://schemas.openxmlformats.org/officeDocument/2006/relationships/slideLayout" Target="../slideLayouts/slideLayout215.xml"/><Relationship Id="rId21" Type="http://schemas.openxmlformats.org/officeDocument/2006/relationships/slideLayout" Target="../slideLayouts/slideLayout197.xml"/><Relationship Id="rId34" Type="http://schemas.openxmlformats.org/officeDocument/2006/relationships/slideLayout" Target="../slideLayouts/slideLayout210.xml"/><Relationship Id="rId42" Type="http://schemas.openxmlformats.org/officeDocument/2006/relationships/slideLayout" Target="../slideLayouts/slideLayout218.xml"/><Relationship Id="rId47" Type="http://schemas.openxmlformats.org/officeDocument/2006/relationships/slideLayout" Target="../slideLayouts/slideLayout223.xml"/><Relationship Id="rId7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78.xml"/><Relationship Id="rId16" Type="http://schemas.openxmlformats.org/officeDocument/2006/relationships/slideLayout" Target="../slideLayouts/slideLayout192.xml"/><Relationship Id="rId29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24" Type="http://schemas.openxmlformats.org/officeDocument/2006/relationships/slideLayout" Target="../slideLayouts/slideLayout200.xml"/><Relationship Id="rId32" Type="http://schemas.openxmlformats.org/officeDocument/2006/relationships/slideLayout" Target="../slideLayouts/slideLayout208.xml"/><Relationship Id="rId37" Type="http://schemas.openxmlformats.org/officeDocument/2006/relationships/slideLayout" Target="../slideLayouts/slideLayout213.xml"/><Relationship Id="rId40" Type="http://schemas.openxmlformats.org/officeDocument/2006/relationships/slideLayout" Target="../slideLayouts/slideLayout216.xml"/><Relationship Id="rId45" Type="http://schemas.openxmlformats.org/officeDocument/2006/relationships/slideLayout" Target="../slideLayouts/slideLayout221.xml"/><Relationship Id="rId5" Type="http://schemas.openxmlformats.org/officeDocument/2006/relationships/slideLayout" Target="../slideLayouts/slideLayout181.xml"/><Relationship Id="rId15" Type="http://schemas.openxmlformats.org/officeDocument/2006/relationships/slideLayout" Target="../slideLayouts/slideLayout191.xml"/><Relationship Id="rId23" Type="http://schemas.openxmlformats.org/officeDocument/2006/relationships/slideLayout" Target="../slideLayouts/slideLayout199.xml"/><Relationship Id="rId28" Type="http://schemas.openxmlformats.org/officeDocument/2006/relationships/slideLayout" Target="../slideLayouts/slideLayout204.xml"/><Relationship Id="rId36" Type="http://schemas.openxmlformats.org/officeDocument/2006/relationships/slideLayout" Target="../slideLayouts/slideLayout212.xml"/><Relationship Id="rId10" Type="http://schemas.openxmlformats.org/officeDocument/2006/relationships/slideLayout" Target="../slideLayouts/slideLayout186.xml"/><Relationship Id="rId19" Type="http://schemas.openxmlformats.org/officeDocument/2006/relationships/slideLayout" Target="../slideLayouts/slideLayout195.xml"/><Relationship Id="rId31" Type="http://schemas.openxmlformats.org/officeDocument/2006/relationships/slideLayout" Target="../slideLayouts/slideLayout207.xml"/><Relationship Id="rId44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slideLayout" Target="../slideLayouts/slideLayout190.xml"/><Relationship Id="rId22" Type="http://schemas.openxmlformats.org/officeDocument/2006/relationships/slideLayout" Target="../slideLayouts/slideLayout198.xml"/><Relationship Id="rId27" Type="http://schemas.openxmlformats.org/officeDocument/2006/relationships/slideLayout" Target="../slideLayouts/slideLayout203.xml"/><Relationship Id="rId30" Type="http://schemas.openxmlformats.org/officeDocument/2006/relationships/slideLayout" Target="../slideLayouts/slideLayout206.xml"/><Relationship Id="rId35" Type="http://schemas.openxmlformats.org/officeDocument/2006/relationships/slideLayout" Target="../slideLayouts/slideLayout211.xml"/><Relationship Id="rId43" Type="http://schemas.openxmlformats.org/officeDocument/2006/relationships/slideLayout" Target="../slideLayouts/slideLayout219.xml"/><Relationship Id="rId48" Type="http://schemas.openxmlformats.org/officeDocument/2006/relationships/theme" Target="../theme/theme5.xml"/><Relationship Id="rId8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79.xml"/><Relationship Id="rId12" Type="http://schemas.openxmlformats.org/officeDocument/2006/relationships/slideLayout" Target="../slideLayouts/slideLayout188.xml"/><Relationship Id="rId17" Type="http://schemas.openxmlformats.org/officeDocument/2006/relationships/slideLayout" Target="../slideLayouts/slideLayout193.xml"/><Relationship Id="rId25" Type="http://schemas.openxmlformats.org/officeDocument/2006/relationships/slideLayout" Target="../slideLayouts/slideLayout201.xml"/><Relationship Id="rId33" Type="http://schemas.openxmlformats.org/officeDocument/2006/relationships/slideLayout" Target="../slideLayouts/slideLayout209.xml"/><Relationship Id="rId38" Type="http://schemas.openxmlformats.org/officeDocument/2006/relationships/slideLayout" Target="../slideLayouts/slideLayout214.xml"/><Relationship Id="rId46" Type="http://schemas.openxmlformats.org/officeDocument/2006/relationships/slideLayout" Target="../slideLayouts/slideLayout222.xml"/><Relationship Id="rId20" Type="http://schemas.openxmlformats.org/officeDocument/2006/relationships/slideLayout" Target="../slideLayouts/slideLayout196.xml"/><Relationship Id="rId41" Type="http://schemas.openxmlformats.org/officeDocument/2006/relationships/slideLayout" Target="../slideLayouts/slideLayout217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6.xml"/><Relationship Id="rId18" Type="http://schemas.openxmlformats.org/officeDocument/2006/relationships/slideLayout" Target="../slideLayouts/slideLayout241.xml"/><Relationship Id="rId26" Type="http://schemas.openxmlformats.org/officeDocument/2006/relationships/slideLayout" Target="../slideLayouts/slideLayout249.xml"/><Relationship Id="rId39" Type="http://schemas.openxmlformats.org/officeDocument/2006/relationships/slideLayout" Target="../slideLayouts/slideLayout262.xml"/><Relationship Id="rId21" Type="http://schemas.openxmlformats.org/officeDocument/2006/relationships/slideLayout" Target="../slideLayouts/slideLayout244.xml"/><Relationship Id="rId34" Type="http://schemas.openxmlformats.org/officeDocument/2006/relationships/slideLayout" Target="../slideLayouts/slideLayout257.xml"/><Relationship Id="rId42" Type="http://schemas.openxmlformats.org/officeDocument/2006/relationships/slideLayout" Target="../slideLayouts/slideLayout265.xml"/><Relationship Id="rId7" Type="http://schemas.openxmlformats.org/officeDocument/2006/relationships/slideLayout" Target="../slideLayouts/slideLayout230.xml"/><Relationship Id="rId2" Type="http://schemas.openxmlformats.org/officeDocument/2006/relationships/slideLayout" Target="../slideLayouts/slideLayout225.xml"/><Relationship Id="rId16" Type="http://schemas.openxmlformats.org/officeDocument/2006/relationships/slideLayout" Target="../slideLayouts/slideLayout239.xml"/><Relationship Id="rId20" Type="http://schemas.openxmlformats.org/officeDocument/2006/relationships/slideLayout" Target="../slideLayouts/slideLayout243.xml"/><Relationship Id="rId29" Type="http://schemas.openxmlformats.org/officeDocument/2006/relationships/slideLayout" Target="../slideLayouts/slideLayout252.xml"/><Relationship Id="rId41" Type="http://schemas.openxmlformats.org/officeDocument/2006/relationships/slideLayout" Target="../slideLayouts/slideLayout264.xml"/><Relationship Id="rId1" Type="http://schemas.openxmlformats.org/officeDocument/2006/relationships/slideLayout" Target="../slideLayouts/slideLayout224.xml"/><Relationship Id="rId6" Type="http://schemas.openxmlformats.org/officeDocument/2006/relationships/slideLayout" Target="../slideLayouts/slideLayout229.xml"/><Relationship Id="rId11" Type="http://schemas.openxmlformats.org/officeDocument/2006/relationships/slideLayout" Target="../slideLayouts/slideLayout234.xml"/><Relationship Id="rId24" Type="http://schemas.openxmlformats.org/officeDocument/2006/relationships/slideLayout" Target="../slideLayouts/slideLayout247.xml"/><Relationship Id="rId32" Type="http://schemas.openxmlformats.org/officeDocument/2006/relationships/slideLayout" Target="../slideLayouts/slideLayout255.xml"/><Relationship Id="rId37" Type="http://schemas.openxmlformats.org/officeDocument/2006/relationships/slideLayout" Target="../slideLayouts/slideLayout260.xml"/><Relationship Id="rId40" Type="http://schemas.openxmlformats.org/officeDocument/2006/relationships/slideLayout" Target="../slideLayouts/slideLayout263.xml"/><Relationship Id="rId5" Type="http://schemas.openxmlformats.org/officeDocument/2006/relationships/slideLayout" Target="../slideLayouts/slideLayout228.xml"/><Relationship Id="rId15" Type="http://schemas.openxmlformats.org/officeDocument/2006/relationships/slideLayout" Target="../slideLayouts/slideLayout238.xml"/><Relationship Id="rId23" Type="http://schemas.openxmlformats.org/officeDocument/2006/relationships/slideLayout" Target="../slideLayouts/slideLayout246.xml"/><Relationship Id="rId28" Type="http://schemas.openxmlformats.org/officeDocument/2006/relationships/slideLayout" Target="../slideLayouts/slideLayout251.xml"/><Relationship Id="rId36" Type="http://schemas.openxmlformats.org/officeDocument/2006/relationships/slideLayout" Target="../slideLayouts/slideLayout259.xml"/><Relationship Id="rId10" Type="http://schemas.openxmlformats.org/officeDocument/2006/relationships/slideLayout" Target="../slideLayouts/slideLayout233.xml"/><Relationship Id="rId19" Type="http://schemas.openxmlformats.org/officeDocument/2006/relationships/slideLayout" Target="../slideLayouts/slideLayout242.xml"/><Relationship Id="rId31" Type="http://schemas.openxmlformats.org/officeDocument/2006/relationships/slideLayout" Target="../slideLayouts/slideLayout254.xml"/><Relationship Id="rId44" Type="http://schemas.openxmlformats.org/officeDocument/2006/relationships/theme" Target="../theme/theme6.xml"/><Relationship Id="rId4" Type="http://schemas.openxmlformats.org/officeDocument/2006/relationships/slideLayout" Target="../slideLayouts/slideLayout227.xml"/><Relationship Id="rId9" Type="http://schemas.openxmlformats.org/officeDocument/2006/relationships/slideLayout" Target="../slideLayouts/slideLayout232.xml"/><Relationship Id="rId14" Type="http://schemas.openxmlformats.org/officeDocument/2006/relationships/slideLayout" Target="../slideLayouts/slideLayout237.xml"/><Relationship Id="rId22" Type="http://schemas.openxmlformats.org/officeDocument/2006/relationships/slideLayout" Target="../slideLayouts/slideLayout245.xml"/><Relationship Id="rId27" Type="http://schemas.openxmlformats.org/officeDocument/2006/relationships/slideLayout" Target="../slideLayouts/slideLayout250.xml"/><Relationship Id="rId30" Type="http://schemas.openxmlformats.org/officeDocument/2006/relationships/slideLayout" Target="../slideLayouts/slideLayout253.xml"/><Relationship Id="rId35" Type="http://schemas.openxmlformats.org/officeDocument/2006/relationships/slideLayout" Target="../slideLayouts/slideLayout258.xml"/><Relationship Id="rId43" Type="http://schemas.openxmlformats.org/officeDocument/2006/relationships/slideLayout" Target="../slideLayouts/slideLayout266.xml"/><Relationship Id="rId8" Type="http://schemas.openxmlformats.org/officeDocument/2006/relationships/slideLayout" Target="../slideLayouts/slideLayout231.xml"/><Relationship Id="rId3" Type="http://schemas.openxmlformats.org/officeDocument/2006/relationships/slideLayout" Target="../slideLayouts/slideLayout226.xml"/><Relationship Id="rId12" Type="http://schemas.openxmlformats.org/officeDocument/2006/relationships/slideLayout" Target="../slideLayouts/slideLayout235.xml"/><Relationship Id="rId17" Type="http://schemas.openxmlformats.org/officeDocument/2006/relationships/slideLayout" Target="../slideLayouts/slideLayout240.xml"/><Relationship Id="rId25" Type="http://schemas.openxmlformats.org/officeDocument/2006/relationships/slideLayout" Target="../slideLayouts/slideLayout248.xml"/><Relationship Id="rId33" Type="http://schemas.openxmlformats.org/officeDocument/2006/relationships/slideLayout" Target="../slideLayouts/slideLayout256.xml"/><Relationship Id="rId38" Type="http://schemas.openxmlformats.org/officeDocument/2006/relationships/slideLayout" Target="../slideLayouts/slideLayout261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9.xml"/><Relationship Id="rId18" Type="http://schemas.openxmlformats.org/officeDocument/2006/relationships/slideLayout" Target="../slideLayouts/slideLayout284.xml"/><Relationship Id="rId26" Type="http://schemas.openxmlformats.org/officeDocument/2006/relationships/slideLayout" Target="../slideLayouts/slideLayout292.xml"/><Relationship Id="rId39" Type="http://schemas.openxmlformats.org/officeDocument/2006/relationships/slideLayout" Target="../slideLayouts/slideLayout305.xml"/><Relationship Id="rId21" Type="http://schemas.openxmlformats.org/officeDocument/2006/relationships/slideLayout" Target="../slideLayouts/slideLayout287.xml"/><Relationship Id="rId34" Type="http://schemas.openxmlformats.org/officeDocument/2006/relationships/slideLayout" Target="../slideLayouts/slideLayout300.xml"/><Relationship Id="rId42" Type="http://schemas.openxmlformats.org/officeDocument/2006/relationships/slideLayout" Target="../slideLayouts/slideLayout308.xml"/><Relationship Id="rId47" Type="http://schemas.openxmlformats.org/officeDocument/2006/relationships/slideLayout" Target="../slideLayouts/slideLayout313.xml"/><Relationship Id="rId7" Type="http://schemas.openxmlformats.org/officeDocument/2006/relationships/slideLayout" Target="../slideLayouts/slideLayout273.xml"/><Relationship Id="rId2" Type="http://schemas.openxmlformats.org/officeDocument/2006/relationships/slideLayout" Target="../slideLayouts/slideLayout268.xml"/><Relationship Id="rId16" Type="http://schemas.openxmlformats.org/officeDocument/2006/relationships/slideLayout" Target="../slideLayouts/slideLayout282.xml"/><Relationship Id="rId29" Type="http://schemas.openxmlformats.org/officeDocument/2006/relationships/slideLayout" Target="../slideLayouts/slideLayout295.xml"/><Relationship Id="rId1" Type="http://schemas.openxmlformats.org/officeDocument/2006/relationships/slideLayout" Target="../slideLayouts/slideLayout267.xml"/><Relationship Id="rId6" Type="http://schemas.openxmlformats.org/officeDocument/2006/relationships/slideLayout" Target="../slideLayouts/slideLayout272.xml"/><Relationship Id="rId11" Type="http://schemas.openxmlformats.org/officeDocument/2006/relationships/slideLayout" Target="../slideLayouts/slideLayout277.xml"/><Relationship Id="rId24" Type="http://schemas.openxmlformats.org/officeDocument/2006/relationships/slideLayout" Target="../slideLayouts/slideLayout290.xml"/><Relationship Id="rId32" Type="http://schemas.openxmlformats.org/officeDocument/2006/relationships/slideLayout" Target="../slideLayouts/slideLayout298.xml"/><Relationship Id="rId37" Type="http://schemas.openxmlformats.org/officeDocument/2006/relationships/slideLayout" Target="../slideLayouts/slideLayout303.xml"/><Relationship Id="rId40" Type="http://schemas.openxmlformats.org/officeDocument/2006/relationships/slideLayout" Target="../slideLayouts/slideLayout306.xml"/><Relationship Id="rId45" Type="http://schemas.openxmlformats.org/officeDocument/2006/relationships/slideLayout" Target="../slideLayouts/slideLayout311.xml"/><Relationship Id="rId5" Type="http://schemas.openxmlformats.org/officeDocument/2006/relationships/slideLayout" Target="../slideLayouts/slideLayout271.xml"/><Relationship Id="rId15" Type="http://schemas.openxmlformats.org/officeDocument/2006/relationships/slideLayout" Target="../slideLayouts/slideLayout281.xml"/><Relationship Id="rId23" Type="http://schemas.openxmlformats.org/officeDocument/2006/relationships/slideLayout" Target="../slideLayouts/slideLayout289.xml"/><Relationship Id="rId28" Type="http://schemas.openxmlformats.org/officeDocument/2006/relationships/slideLayout" Target="../slideLayouts/slideLayout294.xml"/><Relationship Id="rId36" Type="http://schemas.openxmlformats.org/officeDocument/2006/relationships/slideLayout" Target="../slideLayouts/slideLayout302.xml"/><Relationship Id="rId10" Type="http://schemas.openxmlformats.org/officeDocument/2006/relationships/slideLayout" Target="../slideLayouts/slideLayout276.xml"/><Relationship Id="rId19" Type="http://schemas.openxmlformats.org/officeDocument/2006/relationships/slideLayout" Target="../slideLayouts/slideLayout285.xml"/><Relationship Id="rId31" Type="http://schemas.openxmlformats.org/officeDocument/2006/relationships/slideLayout" Target="../slideLayouts/slideLayout297.xml"/><Relationship Id="rId44" Type="http://schemas.openxmlformats.org/officeDocument/2006/relationships/slideLayout" Target="../slideLayouts/slideLayout310.xml"/><Relationship Id="rId4" Type="http://schemas.openxmlformats.org/officeDocument/2006/relationships/slideLayout" Target="../slideLayouts/slideLayout270.xml"/><Relationship Id="rId9" Type="http://schemas.openxmlformats.org/officeDocument/2006/relationships/slideLayout" Target="../slideLayouts/slideLayout275.xml"/><Relationship Id="rId14" Type="http://schemas.openxmlformats.org/officeDocument/2006/relationships/slideLayout" Target="../slideLayouts/slideLayout280.xml"/><Relationship Id="rId22" Type="http://schemas.openxmlformats.org/officeDocument/2006/relationships/slideLayout" Target="../slideLayouts/slideLayout288.xml"/><Relationship Id="rId27" Type="http://schemas.openxmlformats.org/officeDocument/2006/relationships/slideLayout" Target="../slideLayouts/slideLayout293.xml"/><Relationship Id="rId30" Type="http://schemas.openxmlformats.org/officeDocument/2006/relationships/slideLayout" Target="../slideLayouts/slideLayout296.xml"/><Relationship Id="rId35" Type="http://schemas.openxmlformats.org/officeDocument/2006/relationships/slideLayout" Target="../slideLayouts/slideLayout301.xml"/><Relationship Id="rId43" Type="http://schemas.openxmlformats.org/officeDocument/2006/relationships/slideLayout" Target="../slideLayouts/slideLayout309.xml"/><Relationship Id="rId48" Type="http://schemas.openxmlformats.org/officeDocument/2006/relationships/theme" Target="../theme/theme7.xml"/><Relationship Id="rId8" Type="http://schemas.openxmlformats.org/officeDocument/2006/relationships/slideLayout" Target="../slideLayouts/slideLayout274.xml"/><Relationship Id="rId3" Type="http://schemas.openxmlformats.org/officeDocument/2006/relationships/slideLayout" Target="../slideLayouts/slideLayout269.xml"/><Relationship Id="rId12" Type="http://schemas.openxmlformats.org/officeDocument/2006/relationships/slideLayout" Target="../slideLayouts/slideLayout278.xml"/><Relationship Id="rId17" Type="http://schemas.openxmlformats.org/officeDocument/2006/relationships/slideLayout" Target="../slideLayouts/slideLayout283.xml"/><Relationship Id="rId25" Type="http://schemas.openxmlformats.org/officeDocument/2006/relationships/slideLayout" Target="../slideLayouts/slideLayout291.xml"/><Relationship Id="rId33" Type="http://schemas.openxmlformats.org/officeDocument/2006/relationships/slideLayout" Target="../slideLayouts/slideLayout299.xml"/><Relationship Id="rId38" Type="http://schemas.openxmlformats.org/officeDocument/2006/relationships/slideLayout" Target="../slideLayouts/slideLayout304.xml"/><Relationship Id="rId46" Type="http://schemas.openxmlformats.org/officeDocument/2006/relationships/slideLayout" Target="../slideLayouts/slideLayout312.xml"/><Relationship Id="rId20" Type="http://schemas.openxmlformats.org/officeDocument/2006/relationships/slideLayout" Target="../slideLayouts/slideLayout286.xml"/><Relationship Id="rId41" Type="http://schemas.openxmlformats.org/officeDocument/2006/relationships/slideLayout" Target="../slideLayouts/slideLayout30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335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8" r:id="rId1"/>
    <p:sldLayoutId id="2147484269" r:id="rId2"/>
    <p:sldLayoutId id="2147484270" r:id="rId3"/>
    <p:sldLayoutId id="2147484271" r:id="rId4"/>
    <p:sldLayoutId id="2147484272" r:id="rId5"/>
    <p:sldLayoutId id="2147484273" r:id="rId6"/>
    <p:sldLayoutId id="2147484274" r:id="rId7"/>
    <p:sldLayoutId id="2147484275" r:id="rId8"/>
    <p:sldLayoutId id="2147484276" r:id="rId9"/>
    <p:sldLayoutId id="2147484277" r:id="rId10"/>
    <p:sldLayoutId id="2147484278" r:id="rId11"/>
    <p:sldLayoutId id="2147484279" r:id="rId12"/>
    <p:sldLayoutId id="2147484280" r:id="rId13"/>
    <p:sldLayoutId id="2147484281" r:id="rId14"/>
    <p:sldLayoutId id="2147484282" r:id="rId15"/>
    <p:sldLayoutId id="2147484283" r:id="rId16"/>
    <p:sldLayoutId id="2147484284" r:id="rId17"/>
    <p:sldLayoutId id="2147484285" r:id="rId18"/>
    <p:sldLayoutId id="2147484286" r:id="rId19"/>
    <p:sldLayoutId id="2147484287" r:id="rId20"/>
    <p:sldLayoutId id="2147484288" r:id="rId21"/>
    <p:sldLayoutId id="2147484289" r:id="rId22"/>
    <p:sldLayoutId id="2147484290" r:id="rId23"/>
    <p:sldLayoutId id="2147484291" r:id="rId24"/>
    <p:sldLayoutId id="2147484292" r:id="rId25"/>
    <p:sldLayoutId id="2147484293" r:id="rId26"/>
    <p:sldLayoutId id="2147484294" r:id="rId27"/>
    <p:sldLayoutId id="2147484295" r:id="rId28"/>
    <p:sldLayoutId id="2147484296" r:id="rId29"/>
    <p:sldLayoutId id="2147484759" r:id="rId30"/>
    <p:sldLayoutId id="2147484297" r:id="rId31"/>
    <p:sldLayoutId id="2147484298" r:id="rId32"/>
    <p:sldLayoutId id="2147484299" r:id="rId33"/>
    <p:sldLayoutId id="2147484301" r:id="rId34"/>
    <p:sldLayoutId id="2147484547" r:id="rId35"/>
    <p:sldLayoutId id="2147485060" r:id="rId36"/>
    <p:sldLayoutId id="2147485061" r:id="rId37"/>
    <p:sldLayoutId id="2147485062" r:id="rId38"/>
    <p:sldLayoutId id="2147485063" r:id="rId39"/>
    <p:sldLayoutId id="2147485064" r:id="rId40"/>
    <p:sldLayoutId id="2147485065" r:id="rId41"/>
    <p:sldLayoutId id="2147485066" r:id="rId42"/>
    <p:sldLayoutId id="2147485067" r:id="rId43"/>
    <p:sldLayoutId id="2147485068" r:id="rId44"/>
    <p:sldLayoutId id="2147485069" r:id="rId45"/>
    <p:sldLayoutId id="2147485070" r:id="rId46"/>
    <p:sldLayoutId id="2147485071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1823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1" r:id="rId1"/>
    <p:sldLayoutId id="2147484762" r:id="rId2"/>
    <p:sldLayoutId id="2147484763" r:id="rId3"/>
    <p:sldLayoutId id="2147484764" r:id="rId4"/>
    <p:sldLayoutId id="2147484765" r:id="rId5"/>
    <p:sldLayoutId id="2147484766" r:id="rId6"/>
    <p:sldLayoutId id="2147484767" r:id="rId7"/>
    <p:sldLayoutId id="2147484768" r:id="rId8"/>
    <p:sldLayoutId id="2147484769" r:id="rId9"/>
    <p:sldLayoutId id="2147484770" r:id="rId10"/>
    <p:sldLayoutId id="2147484771" r:id="rId11"/>
    <p:sldLayoutId id="2147484772" r:id="rId12"/>
    <p:sldLayoutId id="2147484773" r:id="rId13"/>
    <p:sldLayoutId id="2147484774" r:id="rId14"/>
    <p:sldLayoutId id="2147484775" r:id="rId15"/>
    <p:sldLayoutId id="2147484776" r:id="rId16"/>
    <p:sldLayoutId id="2147484777" r:id="rId17"/>
    <p:sldLayoutId id="2147484778" r:id="rId18"/>
    <p:sldLayoutId id="2147484779" r:id="rId19"/>
    <p:sldLayoutId id="2147484780" r:id="rId20"/>
    <p:sldLayoutId id="2147484781" r:id="rId21"/>
    <p:sldLayoutId id="2147484782" r:id="rId22"/>
    <p:sldLayoutId id="2147484783" r:id="rId23"/>
    <p:sldLayoutId id="2147484784" r:id="rId24"/>
    <p:sldLayoutId id="2147484785" r:id="rId25"/>
    <p:sldLayoutId id="2147484786" r:id="rId26"/>
    <p:sldLayoutId id="2147484787" r:id="rId27"/>
    <p:sldLayoutId id="2147484788" r:id="rId28"/>
    <p:sldLayoutId id="2147484789" r:id="rId29"/>
    <p:sldLayoutId id="2147484790" r:id="rId30"/>
    <p:sldLayoutId id="2147484791" r:id="rId31"/>
    <p:sldLayoutId id="2147484792" r:id="rId32"/>
    <p:sldLayoutId id="2147484793" r:id="rId33"/>
    <p:sldLayoutId id="2147484794" r:id="rId34"/>
    <p:sldLayoutId id="2147484795" r:id="rId35"/>
    <p:sldLayoutId id="2147484987" r:id="rId36"/>
    <p:sldLayoutId id="2147485103" r:id="rId37"/>
    <p:sldLayoutId id="2147485104" r:id="rId38"/>
    <p:sldLayoutId id="2147485105" r:id="rId39"/>
    <p:sldLayoutId id="2147485106" r:id="rId40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656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7" r:id="rId1"/>
    <p:sldLayoutId id="2147484798" r:id="rId2"/>
    <p:sldLayoutId id="2147484799" r:id="rId3"/>
    <p:sldLayoutId id="2147484800" r:id="rId4"/>
    <p:sldLayoutId id="2147484801" r:id="rId5"/>
    <p:sldLayoutId id="2147484802" r:id="rId6"/>
    <p:sldLayoutId id="2147484803" r:id="rId7"/>
    <p:sldLayoutId id="2147484804" r:id="rId8"/>
    <p:sldLayoutId id="2147484805" r:id="rId9"/>
    <p:sldLayoutId id="2147484806" r:id="rId10"/>
    <p:sldLayoutId id="2147484807" r:id="rId11"/>
    <p:sldLayoutId id="2147484808" r:id="rId12"/>
    <p:sldLayoutId id="2147484809" r:id="rId13"/>
    <p:sldLayoutId id="2147484810" r:id="rId14"/>
    <p:sldLayoutId id="2147484811" r:id="rId15"/>
    <p:sldLayoutId id="2147484812" r:id="rId16"/>
    <p:sldLayoutId id="2147484813" r:id="rId17"/>
    <p:sldLayoutId id="2147484814" r:id="rId18"/>
    <p:sldLayoutId id="2147484815" r:id="rId19"/>
    <p:sldLayoutId id="2147484816" r:id="rId20"/>
    <p:sldLayoutId id="2147484817" r:id="rId21"/>
    <p:sldLayoutId id="2147484818" r:id="rId22"/>
    <p:sldLayoutId id="2147484819" r:id="rId23"/>
    <p:sldLayoutId id="2147484820" r:id="rId24"/>
    <p:sldLayoutId id="2147484821" r:id="rId25"/>
    <p:sldLayoutId id="2147484822" r:id="rId26"/>
    <p:sldLayoutId id="2147484823" r:id="rId27"/>
    <p:sldLayoutId id="2147484824" r:id="rId28"/>
    <p:sldLayoutId id="2147484825" r:id="rId29"/>
    <p:sldLayoutId id="2147484826" r:id="rId30"/>
    <p:sldLayoutId id="2147484827" r:id="rId31"/>
    <p:sldLayoutId id="2147484828" r:id="rId32"/>
    <p:sldLayoutId id="2147484829" r:id="rId33"/>
    <p:sldLayoutId id="2147484830" r:id="rId34"/>
    <p:sldLayoutId id="2147484831" r:id="rId35"/>
    <p:sldLayoutId id="2147485072" r:id="rId36"/>
    <p:sldLayoutId id="2147485073" r:id="rId37"/>
    <p:sldLayoutId id="2147485074" r:id="rId38"/>
    <p:sldLayoutId id="2147485075" r:id="rId39"/>
    <p:sldLayoutId id="2147485076" r:id="rId40"/>
    <p:sldLayoutId id="2147485077" r:id="rId41"/>
    <p:sldLayoutId id="2147485078" r:id="rId42"/>
    <p:sldLayoutId id="2147485079" r:id="rId43"/>
    <p:sldLayoutId id="2147485080" r:id="rId44"/>
    <p:sldLayoutId id="2147485081" r:id="rId45"/>
    <p:sldLayoutId id="2147485082" r:id="rId46"/>
    <p:sldLayoutId id="2147485083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460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3" r:id="rId1"/>
    <p:sldLayoutId id="2147484834" r:id="rId2"/>
    <p:sldLayoutId id="2147484835" r:id="rId3"/>
    <p:sldLayoutId id="2147484836" r:id="rId4"/>
    <p:sldLayoutId id="2147484837" r:id="rId5"/>
    <p:sldLayoutId id="2147484838" r:id="rId6"/>
    <p:sldLayoutId id="2147484839" r:id="rId7"/>
    <p:sldLayoutId id="2147484840" r:id="rId8"/>
    <p:sldLayoutId id="2147484841" r:id="rId9"/>
    <p:sldLayoutId id="2147484842" r:id="rId10"/>
    <p:sldLayoutId id="2147484843" r:id="rId11"/>
    <p:sldLayoutId id="2147484844" r:id="rId12"/>
    <p:sldLayoutId id="2147484845" r:id="rId13"/>
    <p:sldLayoutId id="2147484846" r:id="rId14"/>
    <p:sldLayoutId id="2147484847" r:id="rId15"/>
    <p:sldLayoutId id="2147484848" r:id="rId16"/>
    <p:sldLayoutId id="2147484849" r:id="rId17"/>
    <p:sldLayoutId id="2147484850" r:id="rId18"/>
    <p:sldLayoutId id="2147484851" r:id="rId19"/>
    <p:sldLayoutId id="2147484852" r:id="rId20"/>
    <p:sldLayoutId id="2147484853" r:id="rId21"/>
    <p:sldLayoutId id="2147484854" r:id="rId22"/>
    <p:sldLayoutId id="2147484855" r:id="rId23"/>
    <p:sldLayoutId id="2147484856" r:id="rId24"/>
    <p:sldLayoutId id="2147484857" r:id="rId25"/>
    <p:sldLayoutId id="2147484858" r:id="rId26"/>
    <p:sldLayoutId id="2147484859" r:id="rId27"/>
    <p:sldLayoutId id="2147484860" r:id="rId28"/>
    <p:sldLayoutId id="2147484861" r:id="rId29"/>
    <p:sldLayoutId id="2147484862" r:id="rId30"/>
    <p:sldLayoutId id="2147484863" r:id="rId31"/>
    <p:sldLayoutId id="2147484864" r:id="rId32"/>
    <p:sldLayoutId id="2147484865" r:id="rId33"/>
    <p:sldLayoutId id="2147484866" r:id="rId34"/>
    <p:sldLayoutId id="2147484867" r:id="rId35"/>
    <p:sldLayoutId id="2147485096" r:id="rId36"/>
    <p:sldLayoutId id="2147485097" r:id="rId37"/>
    <p:sldLayoutId id="2147485098" r:id="rId38"/>
    <p:sldLayoutId id="2147485099" r:id="rId39"/>
    <p:sldLayoutId id="2147485100" r:id="rId40"/>
    <p:sldLayoutId id="2147485101" r:id="rId41"/>
    <p:sldLayoutId id="2147485102" r:id="rId42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483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9" r:id="rId1"/>
    <p:sldLayoutId id="2147484870" r:id="rId2"/>
    <p:sldLayoutId id="2147484871" r:id="rId3"/>
    <p:sldLayoutId id="2147484872" r:id="rId4"/>
    <p:sldLayoutId id="2147484873" r:id="rId5"/>
    <p:sldLayoutId id="2147484874" r:id="rId6"/>
    <p:sldLayoutId id="2147484875" r:id="rId7"/>
    <p:sldLayoutId id="2147484876" r:id="rId8"/>
    <p:sldLayoutId id="2147484877" r:id="rId9"/>
    <p:sldLayoutId id="2147484878" r:id="rId10"/>
    <p:sldLayoutId id="2147484879" r:id="rId11"/>
    <p:sldLayoutId id="2147484880" r:id="rId12"/>
    <p:sldLayoutId id="2147484881" r:id="rId13"/>
    <p:sldLayoutId id="2147484882" r:id="rId14"/>
    <p:sldLayoutId id="2147484883" r:id="rId15"/>
    <p:sldLayoutId id="2147484884" r:id="rId16"/>
    <p:sldLayoutId id="2147484885" r:id="rId17"/>
    <p:sldLayoutId id="2147484886" r:id="rId18"/>
    <p:sldLayoutId id="2147484887" r:id="rId19"/>
    <p:sldLayoutId id="2147484888" r:id="rId20"/>
    <p:sldLayoutId id="2147484889" r:id="rId21"/>
    <p:sldLayoutId id="2147484890" r:id="rId22"/>
    <p:sldLayoutId id="2147484891" r:id="rId23"/>
    <p:sldLayoutId id="2147484892" r:id="rId24"/>
    <p:sldLayoutId id="2147484893" r:id="rId25"/>
    <p:sldLayoutId id="2147484894" r:id="rId26"/>
    <p:sldLayoutId id="2147484895" r:id="rId27"/>
    <p:sldLayoutId id="2147484896" r:id="rId28"/>
    <p:sldLayoutId id="2147484897" r:id="rId29"/>
    <p:sldLayoutId id="2147484898" r:id="rId30"/>
    <p:sldLayoutId id="2147484899" r:id="rId31"/>
    <p:sldLayoutId id="2147484900" r:id="rId32"/>
    <p:sldLayoutId id="2147484901" r:id="rId33"/>
    <p:sldLayoutId id="2147484902" r:id="rId34"/>
    <p:sldLayoutId id="2147484903" r:id="rId35"/>
    <p:sldLayoutId id="2147485084" r:id="rId36"/>
    <p:sldLayoutId id="2147485085" r:id="rId37"/>
    <p:sldLayoutId id="2147485086" r:id="rId38"/>
    <p:sldLayoutId id="2147485087" r:id="rId39"/>
    <p:sldLayoutId id="2147485088" r:id="rId40"/>
    <p:sldLayoutId id="2147485089" r:id="rId41"/>
    <p:sldLayoutId id="2147485090" r:id="rId42"/>
    <p:sldLayoutId id="2147485091" r:id="rId43"/>
    <p:sldLayoutId id="2147485092" r:id="rId44"/>
    <p:sldLayoutId id="2147485093" r:id="rId45"/>
    <p:sldLayoutId id="2147485094" r:id="rId46"/>
    <p:sldLayoutId id="2147485095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912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05" r:id="rId1"/>
    <p:sldLayoutId id="2147484906" r:id="rId2"/>
    <p:sldLayoutId id="2147484907" r:id="rId3"/>
    <p:sldLayoutId id="2147484908" r:id="rId4"/>
    <p:sldLayoutId id="2147484909" r:id="rId5"/>
    <p:sldLayoutId id="2147484910" r:id="rId6"/>
    <p:sldLayoutId id="2147484911" r:id="rId7"/>
    <p:sldLayoutId id="2147484912" r:id="rId8"/>
    <p:sldLayoutId id="2147484913" r:id="rId9"/>
    <p:sldLayoutId id="2147484914" r:id="rId10"/>
    <p:sldLayoutId id="2147484915" r:id="rId11"/>
    <p:sldLayoutId id="2147484916" r:id="rId12"/>
    <p:sldLayoutId id="2147484917" r:id="rId13"/>
    <p:sldLayoutId id="2147484918" r:id="rId14"/>
    <p:sldLayoutId id="2147484919" r:id="rId15"/>
    <p:sldLayoutId id="2147484920" r:id="rId16"/>
    <p:sldLayoutId id="2147484921" r:id="rId17"/>
    <p:sldLayoutId id="2147484922" r:id="rId18"/>
    <p:sldLayoutId id="2147484923" r:id="rId19"/>
    <p:sldLayoutId id="2147484924" r:id="rId20"/>
    <p:sldLayoutId id="2147484925" r:id="rId21"/>
    <p:sldLayoutId id="2147484926" r:id="rId22"/>
    <p:sldLayoutId id="2147484927" r:id="rId23"/>
    <p:sldLayoutId id="2147484928" r:id="rId24"/>
    <p:sldLayoutId id="2147484929" r:id="rId25"/>
    <p:sldLayoutId id="2147484930" r:id="rId26"/>
    <p:sldLayoutId id="2147484931" r:id="rId27"/>
    <p:sldLayoutId id="2147484932" r:id="rId28"/>
    <p:sldLayoutId id="2147484933" r:id="rId29"/>
    <p:sldLayoutId id="2147484934" r:id="rId30"/>
    <p:sldLayoutId id="2147484935" r:id="rId31"/>
    <p:sldLayoutId id="2147484936" r:id="rId32"/>
    <p:sldLayoutId id="2147484937" r:id="rId33"/>
    <p:sldLayoutId id="2147484938" r:id="rId34"/>
    <p:sldLayoutId id="2147484939" r:id="rId35"/>
    <p:sldLayoutId id="2147484988" r:id="rId36"/>
    <p:sldLayoutId id="2147484989" r:id="rId37"/>
    <p:sldLayoutId id="2147484990" r:id="rId38"/>
    <p:sldLayoutId id="2147484991" r:id="rId39"/>
    <p:sldLayoutId id="2147484993" r:id="rId40"/>
    <p:sldLayoutId id="2147484994" r:id="rId41"/>
    <p:sldLayoutId id="2147484995" r:id="rId42"/>
    <p:sldLayoutId id="2147484996" r:id="rId43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534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1" r:id="rId1"/>
    <p:sldLayoutId id="2147484942" r:id="rId2"/>
    <p:sldLayoutId id="2147484943" r:id="rId3"/>
    <p:sldLayoutId id="2147484944" r:id="rId4"/>
    <p:sldLayoutId id="2147484945" r:id="rId5"/>
    <p:sldLayoutId id="2147484946" r:id="rId6"/>
    <p:sldLayoutId id="2147484947" r:id="rId7"/>
    <p:sldLayoutId id="2147484948" r:id="rId8"/>
    <p:sldLayoutId id="2147484949" r:id="rId9"/>
    <p:sldLayoutId id="2147484950" r:id="rId10"/>
    <p:sldLayoutId id="2147484951" r:id="rId11"/>
    <p:sldLayoutId id="2147484952" r:id="rId12"/>
    <p:sldLayoutId id="2147484953" r:id="rId13"/>
    <p:sldLayoutId id="2147484954" r:id="rId14"/>
    <p:sldLayoutId id="2147484955" r:id="rId15"/>
    <p:sldLayoutId id="2147484956" r:id="rId16"/>
    <p:sldLayoutId id="2147484957" r:id="rId17"/>
    <p:sldLayoutId id="2147484958" r:id="rId18"/>
    <p:sldLayoutId id="2147484959" r:id="rId19"/>
    <p:sldLayoutId id="2147484960" r:id="rId20"/>
    <p:sldLayoutId id="2147484961" r:id="rId21"/>
    <p:sldLayoutId id="2147484962" r:id="rId22"/>
    <p:sldLayoutId id="2147484963" r:id="rId23"/>
    <p:sldLayoutId id="2147484964" r:id="rId24"/>
    <p:sldLayoutId id="2147484965" r:id="rId25"/>
    <p:sldLayoutId id="2147484966" r:id="rId26"/>
    <p:sldLayoutId id="2147484967" r:id="rId27"/>
    <p:sldLayoutId id="2147484968" r:id="rId28"/>
    <p:sldLayoutId id="2147484969" r:id="rId29"/>
    <p:sldLayoutId id="2147484970" r:id="rId30"/>
    <p:sldLayoutId id="2147484971" r:id="rId31"/>
    <p:sldLayoutId id="2147484972" r:id="rId32"/>
    <p:sldLayoutId id="2147484973" r:id="rId33"/>
    <p:sldLayoutId id="2147484974" r:id="rId34"/>
    <p:sldLayoutId id="2147484975" r:id="rId35"/>
    <p:sldLayoutId id="2147485048" r:id="rId36"/>
    <p:sldLayoutId id="2147485049" r:id="rId37"/>
    <p:sldLayoutId id="2147485050" r:id="rId38"/>
    <p:sldLayoutId id="2147485051" r:id="rId39"/>
    <p:sldLayoutId id="2147485052" r:id="rId40"/>
    <p:sldLayoutId id="2147485053" r:id="rId41"/>
    <p:sldLayoutId id="2147485054" r:id="rId42"/>
    <p:sldLayoutId id="2147485055" r:id="rId43"/>
    <p:sldLayoutId id="2147485056" r:id="rId44"/>
    <p:sldLayoutId id="2147485057" r:id="rId45"/>
    <p:sldLayoutId id="2147485058" r:id="rId46"/>
    <p:sldLayoutId id="2147485059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notesSlide" Target="../notesSlides/notesSlide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slideLayout" Target="../slideLayouts/slideLayout226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10" Type="http://schemas.openxmlformats.org/officeDocument/2006/relationships/tags" Target="../tags/tag16.xml"/><Relationship Id="rId19" Type="http://schemas.openxmlformats.org/officeDocument/2006/relationships/image" Target="../media/image4.png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3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2.xml"/><Relationship Id="rId7" Type="http://schemas.openxmlformats.org/officeDocument/2006/relationships/image" Target="../media/image19.png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tif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4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33.xml"/><Relationship Id="rId4" Type="http://schemas.openxmlformats.org/officeDocument/2006/relationships/image" Target="../media/image9.jp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3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3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3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3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0" y="0"/>
            <a:ext cx="9215438" cy="5184775"/>
          </a:xfrm>
          <a:prstGeom prst="rect">
            <a:avLst/>
          </a:prstGeom>
          <a:solidFill>
            <a:srgbClr val="1E82C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NO nam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b="1" dirty="0"/>
              <a:t>Adidas tech sportS: “</a:t>
            </a:r>
            <a:r>
              <a:rPr lang="en-US" b="1" dirty="0"/>
              <a:t>SAYCHEESE”</a:t>
            </a:r>
            <a:r>
              <a:rPr lang="en-US" b="1" u="sng" dirty="0"/>
              <a:t> </a:t>
            </a:r>
          </a:p>
          <a:p>
            <a:endParaRPr lang="en-US" dirty="0"/>
          </a:p>
        </p:txBody>
      </p:sp>
      <p:grpSp>
        <p:nvGrpSpPr>
          <p:cNvPr id="7" name="Group 4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6335713" y="865055"/>
            <a:ext cx="1190779" cy="1151334"/>
            <a:chOff x="1340" y="133"/>
            <a:chExt cx="3049" cy="2948"/>
          </a:xfrm>
          <a:solidFill>
            <a:schemeClr val="bg1"/>
          </a:solidFill>
        </p:grpSpPr>
        <p:sp>
          <p:nvSpPr>
            <p:cNvPr id="8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1583" y="1505"/>
              <a:ext cx="2566" cy="118"/>
            </a:xfrm>
            <a:custGeom>
              <a:avLst/>
              <a:gdLst>
                <a:gd name="T0" fmla="*/ 1087 w 1087"/>
                <a:gd name="T1" fmla="*/ 0 h 50"/>
                <a:gd name="T2" fmla="*/ 1052 w 1087"/>
                <a:gd name="T3" fmla="*/ 50 h 50"/>
                <a:gd name="T4" fmla="*/ 33 w 1087"/>
                <a:gd name="T5" fmla="*/ 50 h 50"/>
                <a:gd name="T6" fmla="*/ 0 w 1087"/>
                <a:gd name="T7" fmla="*/ 0 h 50"/>
                <a:gd name="T8" fmla="*/ 1087 w 1087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7" h="50">
                  <a:moveTo>
                    <a:pt x="1087" y="0"/>
                  </a:moveTo>
                  <a:cubicBezTo>
                    <a:pt x="1079" y="16"/>
                    <a:pt x="1065" y="37"/>
                    <a:pt x="1052" y="50"/>
                  </a:cubicBezTo>
                  <a:cubicBezTo>
                    <a:pt x="33" y="50"/>
                    <a:pt x="33" y="50"/>
                    <a:pt x="33" y="50"/>
                  </a:cubicBezTo>
                  <a:cubicBezTo>
                    <a:pt x="25" y="40"/>
                    <a:pt x="7" y="17"/>
                    <a:pt x="0" y="0"/>
                  </a:cubicBezTo>
                  <a:lnTo>
                    <a:pt x="10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1760" y="1746"/>
              <a:ext cx="2207" cy="108"/>
            </a:xfrm>
            <a:custGeom>
              <a:avLst/>
              <a:gdLst>
                <a:gd name="T0" fmla="*/ 935 w 935"/>
                <a:gd name="T1" fmla="*/ 0 h 46"/>
                <a:gd name="T2" fmla="*/ 0 w 935"/>
                <a:gd name="T3" fmla="*/ 0 h 46"/>
                <a:gd name="T4" fmla="*/ 48 w 935"/>
                <a:gd name="T5" fmla="*/ 46 h 46"/>
                <a:gd name="T6" fmla="*/ 883 w 935"/>
                <a:gd name="T7" fmla="*/ 46 h 46"/>
                <a:gd name="T8" fmla="*/ 935 w 935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5" h="46">
                  <a:moveTo>
                    <a:pt x="93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18"/>
                    <a:pt x="31" y="34"/>
                    <a:pt x="48" y="46"/>
                  </a:cubicBezTo>
                  <a:cubicBezTo>
                    <a:pt x="883" y="46"/>
                    <a:pt x="883" y="46"/>
                    <a:pt x="883" y="46"/>
                  </a:cubicBezTo>
                  <a:cubicBezTo>
                    <a:pt x="904" y="34"/>
                    <a:pt x="923" y="18"/>
                    <a:pt x="93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3072" y="1968"/>
              <a:ext cx="623" cy="250"/>
            </a:xfrm>
            <a:custGeom>
              <a:avLst/>
              <a:gdLst>
                <a:gd name="T0" fmla="*/ 264 w 264"/>
                <a:gd name="T1" fmla="*/ 0 h 106"/>
                <a:gd name="T2" fmla="*/ 7 w 264"/>
                <a:gd name="T3" fmla="*/ 0 h 106"/>
                <a:gd name="T4" fmla="*/ 0 w 264"/>
                <a:gd name="T5" fmla="*/ 106 h 106"/>
                <a:gd name="T6" fmla="*/ 264 w 264"/>
                <a:gd name="T7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4" h="106">
                  <a:moveTo>
                    <a:pt x="26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0" y="41"/>
                    <a:pt x="0" y="79"/>
                    <a:pt x="0" y="106"/>
                  </a:cubicBezTo>
                  <a:cubicBezTo>
                    <a:pt x="75" y="101"/>
                    <a:pt x="174" y="67"/>
                    <a:pt x="26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3320" y="723"/>
              <a:ext cx="1069" cy="669"/>
            </a:xfrm>
            <a:custGeom>
              <a:avLst/>
              <a:gdLst>
                <a:gd name="T0" fmla="*/ 446 w 453"/>
                <a:gd name="T1" fmla="*/ 0 h 284"/>
                <a:gd name="T2" fmla="*/ 52 w 453"/>
                <a:gd name="T3" fmla="*/ 214 h 284"/>
                <a:gd name="T4" fmla="*/ 0 w 453"/>
                <a:gd name="T5" fmla="*/ 284 h 284"/>
                <a:gd name="T6" fmla="*/ 376 w 453"/>
                <a:gd name="T7" fmla="*/ 284 h 284"/>
                <a:gd name="T8" fmla="*/ 446 w 453"/>
                <a:gd name="T9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84">
                  <a:moveTo>
                    <a:pt x="446" y="0"/>
                  </a:moveTo>
                  <a:cubicBezTo>
                    <a:pt x="329" y="7"/>
                    <a:pt x="161" y="86"/>
                    <a:pt x="52" y="214"/>
                  </a:cubicBezTo>
                  <a:cubicBezTo>
                    <a:pt x="32" y="237"/>
                    <a:pt x="14" y="260"/>
                    <a:pt x="0" y="284"/>
                  </a:cubicBezTo>
                  <a:cubicBezTo>
                    <a:pt x="376" y="284"/>
                    <a:pt x="376" y="284"/>
                    <a:pt x="376" y="284"/>
                  </a:cubicBezTo>
                  <a:cubicBezTo>
                    <a:pt x="427" y="183"/>
                    <a:pt x="453" y="82"/>
                    <a:pt x="44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2031" y="1968"/>
              <a:ext cx="623" cy="250"/>
            </a:xfrm>
            <a:custGeom>
              <a:avLst/>
              <a:gdLst>
                <a:gd name="T0" fmla="*/ 263 w 264"/>
                <a:gd name="T1" fmla="*/ 106 h 106"/>
                <a:gd name="T2" fmla="*/ 259 w 264"/>
                <a:gd name="T3" fmla="*/ 0 h 106"/>
                <a:gd name="T4" fmla="*/ 0 w 264"/>
                <a:gd name="T5" fmla="*/ 0 h 106"/>
                <a:gd name="T6" fmla="*/ 263 w 264"/>
                <a:gd name="T7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4" h="106">
                  <a:moveTo>
                    <a:pt x="263" y="106"/>
                  </a:moveTo>
                  <a:cubicBezTo>
                    <a:pt x="264" y="79"/>
                    <a:pt x="264" y="41"/>
                    <a:pt x="25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2" y="67"/>
                    <a:pt x="191" y="101"/>
                    <a:pt x="263" y="10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2673" y="1968"/>
              <a:ext cx="380" cy="268"/>
            </a:xfrm>
            <a:custGeom>
              <a:avLst/>
              <a:gdLst>
                <a:gd name="T0" fmla="*/ 81 w 161"/>
                <a:gd name="T1" fmla="*/ 114 h 114"/>
                <a:gd name="T2" fmla="*/ 161 w 161"/>
                <a:gd name="T3" fmla="*/ 0 h 114"/>
                <a:gd name="T4" fmla="*/ 0 w 161"/>
                <a:gd name="T5" fmla="*/ 0 h 114"/>
                <a:gd name="T6" fmla="*/ 81 w 161"/>
                <a:gd name="T7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1" h="114">
                  <a:moveTo>
                    <a:pt x="81" y="114"/>
                  </a:moveTo>
                  <a:cubicBezTo>
                    <a:pt x="108" y="86"/>
                    <a:pt x="136" y="48"/>
                    <a:pt x="16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48"/>
                    <a:pt x="52" y="86"/>
                    <a:pt x="81" y="1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4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1342" y="723"/>
              <a:ext cx="1069" cy="669"/>
            </a:xfrm>
            <a:custGeom>
              <a:avLst/>
              <a:gdLst>
                <a:gd name="T0" fmla="*/ 453 w 453"/>
                <a:gd name="T1" fmla="*/ 284 h 284"/>
                <a:gd name="T2" fmla="*/ 401 w 453"/>
                <a:gd name="T3" fmla="*/ 214 h 284"/>
                <a:gd name="T4" fmla="*/ 8 w 453"/>
                <a:gd name="T5" fmla="*/ 0 h 284"/>
                <a:gd name="T6" fmla="*/ 76 w 453"/>
                <a:gd name="T7" fmla="*/ 284 h 284"/>
                <a:gd name="T8" fmla="*/ 453 w 453"/>
                <a:gd name="T9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84">
                  <a:moveTo>
                    <a:pt x="453" y="284"/>
                  </a:moveTo>
                  <a:cubicBezTo>
                    <a:pt x="439" y="260"/>
                    <a:pt x="420" y="237"/>
                    <a:pt x="401" y="214"/>
                  </a:cubicBezTo>
                  <a:cubicBezTo>
                    <a:pt x="292" y="86"/>
                    <a:pt x="123" y="7"/>
                    <a:pt x="8" y="0"/>
                  </a:cubicBezTo>
                  <a:cubicBezTo>
                    <a:pt x="0" y="82"/>
                    <a:pt x="26" y="183"/>
                    <a:pt x="76" y="284"/>
                  </a:cubicBezTo>
                  <a:lnTo>
                    <a:pt x="453" y="2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5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2470" y="133"/>
              <a:ext cx="791" cy="1259"/>
            </a:xfrm>
            <a:custGeom>
              <a:avLst/>
              <a:gdLst>
                <a:gd name="T0" fmla="*/ 330 w 335"/>
                <a:gd name="T1" fmla="*/ 534 h 534"/>
                <a:gd name="T2" fmla="*/ 335 w 335"/>
                <a:gd name="T3" fmla="*/ 444 h 534"/>
                <a:gd name="T4" fmla="*/ 167 w 335"/>
                <a:gd name="T5" fmla="*/ 0 h 534"/>
                <a:gd name="T6" fmla="*/ 0 w 335"/>
                <a:gd name="T7" fmla="*/ 444 h 534"/>
                <a:gd name="T8" fmla="*/ 5 w 335"/>
                <a:gd name="T9" fmla="*/ 534 h 534"/>
                <a:gd name="T10" fmla="*/ 330 w 335"/>
                <a:gd name="T11" fmla="*/ 534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5" h="534">
                  <a:moveTo>
                    <a:pt x="330" y="534"/>
                  </a:moveTo>
                  <a:cubicBezTo>
                    <a:pt x="332" y="505"/>
                    <a:pt x="335" y="477"/>
                    <a:pt x="335" y="444"/>
                  </a:cubicBezTo>
                  <a:cubicBezTo>
                    <a:pt x="335" y="266"/>
                    <a:pt x="255" y="82"/>
                    <a:pt x="167" y="0"/>
                  </a:cubicBezTo>
                  <a:cubicBezTo>
                    <a:pt x="78" y="82"/>
                    <a:pt x="0" y="266"/>
                    <a:pt x="0" y="444"/>
                  </a:cubicBezTo>
                  <a:cubicBezTo>
                    <a:pt x="0" y="477"/>
                    <a:pt x="0" y="505"/>
                    <a:pt x="5" y="534"/>
                  </a:cubicBezTo>
                  <a:lnTo>
                    <a:pt x="330" y="5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3908" y="2548"/>
              <a:ext cx="465" cy="533"/>
            </a:xfrm>
            <a:custGeom>
              <a:avLst/>
              <a:gdLst>
                <a:gd name="T0" fmla="*/ 99 w 197"/>
                <a:gd name="T1" fmla="*/ 226 h 226"/>
                <a:gd name="T2" fmla="*/ 197 w 197"/>
                <a:gd name="T3" fmla="*/ 151 h 226"/>
                <a:gd name="T4" fmla="*/ 141 w 197"/>
                <a:gd name="T5" fmla="*/ 92 h 226"/>
                <a:gd name="T6" fmla="*/ 60 w 197"/>
                <a:gd name="T7" fmla="*/ 61 h 226"/>
                <a:gd name="T8" fmla="*/ 98 w 197"/>
                <a:gd name="T9" fmla="*/ 42 h 226"/>
                <a:gd name="T10" fmla="*/ 134 w 197"/>
                <a:gd name="T11" fmla="*/ 71 h 226"/>
                <a:gd name="T12" fmla="*/ 188 w 197"/>
                <a:gd name="T13" fmla="*/ 71 h 226"/>
                <a:gd name="T14" fmla="*/ 95 w 197"/>
                <a:gd name="T15" fmla="*/ 0 h 226"/>
                <a:gd name="T16" fmla="*/ 5 w 197"/>
                <a:gd name="T17" fmla="*/ 70 h 226"/>
                <a:gd name="T18" fmla="*/ 36 w 197"/>
                <a:gd name="T19" fmla="*/ 123 h 226"/>
                <a:gd name="T20" fmla="*/ 92 w 197"/>
                <a:gd name="T21" fmla="*/ 139 h 226"/>
                <a:gd name="T22" fmla="*/ 139 w 197"/>
                <a:gd name="T23" fmla="*/ 160 h 226"/>
                <a:gd name="T24" fmla="*/ 102 w 197"/>
                <a:gd name="T25" fmla="*/ 186 h 226"/>
                <a:gd name="T26" fmla="*/ 57 w 197"/>
                <a:gd name="T27" fmla="*/ 151 h 226"/>
                <a:gd name="T28" fmla="*/ 0 w 197"/>
                <a:gd name="T29" fmla="*/ 151 h 226"/>
                <a:gd name="T30" fmla="*/ 99 w 197"/>
                <a:gd name="T31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226">
                  <a:moveTo>
                    <a:pt x="99" y="226"/>
                  </a:moveTo>
                  <a:cubicBezTo>
                    <a:pt x="152" y="226"/>
                    <a:pt x="197" y="205"/>
                    <a:pt x="197" y="151"/>
                  </a:cubicBezTo>
                  <a:cubicBezTo>
                    <a:pt x="197" y="121"/>
                    <a:pt x="175" y="100"/>
                    <a:pt x="141" y="92"/>
                  </a:cubicBezTo>
                  <a:cubicBezTo>
                    <a:pt x="105" y="83"/>
                    <a:pt x="60" y="84"/>
                    <a:pt x="60" y="61"/>
                  </a:cubicBezTo>
                  <a:cubicBezTo>
                    <a:pt x="62" y="46"/>
                    <a:pt x="76" y="42"/>
                    <a:pt x="98" y="42"/>
                  </a:cubicBezTo>
                  <a:cubicBezTo>
                    <a:pt x="131" y="42"/>
                    <a:pt x="132" y="60"/>
                    <a:pt x="134" y="71"/>
                  </a:cubicBezTo>
                  <a:cubicBezTo>
                    <a:pt x="188" y="71"/>
                    <a:pt x="188" y="71"/>
                    <a:pt x="188" y="71"/>
                  </a:cubicBezTo>
                  <a:cubicBezTo>
                    <a:pt x="184" y="29"/>
                    <a:pt x="150" y="0"/>
                    <a:pt x="95" y="0"/>
                  </a:cubicBezTo>
                  <a:cubicBezTo>
                    <a:pt x="38" y="0"/>
                    <a:pt x="5" y="31"/>
                    <a:pt x="5" y="70"/>
                  </a:cubicBezTo>
                  <a:cubicBezTo>
                    <a:pt x="5" y="93"/>
                    <a:pt x="17" y="113"/>
                    <a:pt x="36" y="123"/>
                  </a:cubicBezTo>
                  <a:cubicBezTo>
                    <a:pt x="50" y="130"/>
                    <a:pt x="69" y="135"/>
                    <a:pt x="92" y="139"/>
                  </a:cubicBezTo>
                  <a:cubicBezTo>
                    <a:pt x="116" y="141"/>
                    <a:pt x="137" y="143"/>
                    <a:pt x="139" y="160"/>
                  </a:cubicBezTo>
                  <a:cubicBezTo>
                    <a:pt x="139" y="172"/>
                    <a:pt x="127" y="186"/>
                    <a:pt x="102" y="186"/>
                  </a:cubicBezTo>
                  <a:cubicBezTo>
                    <a:pt x="65" y="186"/>
                    <a:pt x="57" y="165"/>
                    <a:pt x="57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1" y="196"/>
                    <a:pt x="38" y="226"/>
                    <a:pt x="99" y="2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gray">
            <a:xfrm>
              <a:off x="3311" y="2548"/>
              <a:ext cx="550" cy="533"/>
            </a:xfrm>
            <a:custGeom>
              <a:avLst/>
              <a:gdLst>
                <a:gd name="T0" fmla="*/ 178 w 233"/>
                <a:gd name="T1" fmla="*/ 3 h 226"/>
                <a:gd name="T2" fmla="*/ 178 w 233"/>
                <a:gd name="T3" fmla="*/ 19 h 226"/>
                <a:gd name="T4" fmla="*/ 114 w 233"/>
                <a:gd name="T5" fmla="*/ 0 h 226"/>
                <a:gd name="T6" fmla="*/ 0 w 233"/>
                <a:gd name="T7" fmla="*/ 113 h 226"/>
                <a:gd name="T8" fmla="*/ 114 w 233"/>
                <a:gd name="T9" fmla="*/ 226 h 226"/>
                <a:gd name="T10" fmla="*/ 178 w 233"/>
                <a:gd name="T11" fmla="*/ 207 h 226"/>
                <a:gd name="T12" fmla="*/ 178 w 233"/>
                <a:gd name="T13" fmla="*/ 221 h 226"/>
                <a:gd name="T14" fmla="*/ 233 w 233"/>
                <a:gd name="T15" fmla="*/ 221 h 226"/>
                <a:gd name="T16" fmla="*/ 233 w 233"/>
                <a:gd name="T17" fmla="*/ 3 h 226"/>
                <a:gd name="T18" fmla="*/ 178 w 233"/>
                <a:gd name="T19" fmla="*/ 3 h 226"/>
                <a:gd name="T20" fmla="*/ 117 w 233"/>
                <a:gd name="T21" fmla="*/ 175 h 226"/>
                <a:gd name="T22" fmla="*/ 54 w 233"/>
                <a:gd name="T23" fmla="*/ 113 h 226"/>
                <a:gd name="T24" fmla="*/ 117 w 233"/>
                <a:gd name="T25" fmla="*/ 50 h 226"/>
                <a:gd name="T26" fmla="*/ 178 w 233"/>
                <a:gd name="T27" fmla="*/ 113 h 226"/>
                <a:gd name="T28" fmla="*/ 117 w 233"/>
                <a:gd name="T29" fmla="*/ 17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3" h="226">
                  <a:moveTo>
                    <a:pt x="178" y="3"/>
                  </a:moveTo>
                  <a:cubicBezTo>
                    <a:pt x="178" y="19"/>
                    <a:pt x="178" y="19"/>
                    <a:pt x="178" y="19"/>
                  </a:cubicBezTo>
                  <a:cubicBezTo>
                    <a:pt x="160" y="6"/>
                    <a:pt x="139" y="0"/>
                    <a:pt x="114" y="0"/>
                  </a:cubicBezTo>
                  <a:cubicBezTo>
                    <a:pt x="52" y="0"/>
                    <a:pt x="0" y="50"/>
                    <a:pt x="0" y="113"/>
                  </a:cubicBezTo>
                  <a:cubicBezTo>
                    <a:pt x="0" y="175"/>
                    <a:pt x="52" y="226"/>
                    <a:pt x="114" y="226"/>
                  </a:cubicBezTo>
                  <a:cubicBezTo>
                    <a:pt x="139" y="226"/>
                    <a:pt x="160" y="219"/>
                    <a:pt x="178" y="207"/>
                  </a:cubicBezTo>
                  <a:cubicBezTo>
                    <a:pt x="178" y="221"/>
                    <a:pt x="178" y="221"/>
                    <a:pt x="178" y="221"/>
                  </a:cubicBezTo>
                  <a:cubicBezTo>
                    <a:pt x="233" y="221"/>
                    <a:pt x="233" y="221"/>
                    <a:pt x="233" y="221"/>
                  </a:cubicBezTo>
                  <a:cubicBezTo>
                    <a:pt x="233" y="3"/>
                    <a:pt x="233" y="3"/>
                    <a:pt x="233" y="3"/>
                  </a:cubicBezTo>
                  <a:lnTo>
                    <a:pt x="178" y="3"/>
                  </a:lnTo>
                  <a:close/>
                  <a:moveTo>
                    <a:pt x="117" y="175"/>
                  </a:moveTo>
                  <a:cubicBezTo>
                    <a:pt x="83" y="175"/>
                    <a:pt x="54" y="146"/>
                    <a:pt x="54" y="113"/>
                  </a:cubicBezTo>
                  <a:cubicBezTo>
                    <a:pt x="54" y="79"/>
                    <a:pt x="83" y="50"/>
                    <a:pt x="117" y="50"/>
                  </a:cubicBezTo>
                  <a:cubicBezTo>
                    <a:pt x="150" y="50"/>
                    <a:pt x="178" y="79"/>
                    <a:pt x="178" y="113"/>
                  </a:cubicBezTo>
                  <a:cubicBezTo>
                    <a:pt x="178" y="146"/>
                    <a:pt x="150" y="175"/>
                    <a:pt x="117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gray">
            <a:xfrm>
              <a:off x="2725" y="2378"/>
              <a:ext cx="545" cy="703"/>
            </a:xfrm>
            <a:custGeom>
              <a:avLst/>
              <a:gdLst>
                <a:gd name="T0" fmla="*/ 177 w 231"/>
                <a:gd name="T1" fmla="*/ 0 h 298"/>
                <a:gd name="T2" fmla="*/ 177 w 231"/>
                <a:gd name="T3" fmla="*/ 91 h 298"/>
                <a:gd name="T4" fmla="*/ 113 w 231"/>
                <a:gd name="T5" fmla="*/ 72 h 298"/>
                <a:gd name="T6" fmla="*/ 0 w 231"/>
                <a:gd name="T7" fmla="*/ 185 h 298"/>
                <a:gd name="T8" fmla="*/ 113 w 231"/>
                <a:gd name="T9" fmla="*/ 298 h 298"/>
                <a:gd name="T10" fmla="*/ 177 w 231"/>
                <a:gd name="T11" fmla="*/ 279 h 298"/>
                <a:gd name="T12" fmla="*/ 177 w 231"/>
                <a:gd name="T13" fmla="*/ 293 h 298"/>
                <a:gd name="T14" fmla="*/ 231 w 231"/>
                <a:gd name="T15" fmla="*/ 293 h 298"/>
                <a:gd name="T16" fmla="*/ 231 w 231"/>
                <a:gd name="T17" fmla="*/ 0 h 298"/>
                <a:gd name="T18" fmla="*/ 177 w 231"/>
                <a:gd name="T19" fmla="*/ 0 h 298"/>
                <a:gd name="T20" fmla="*/ 114 w 231"/>
                <a:gd name="T21" fmla="*/ 247 h 298"/>
                <a:gd name="T22" fmla="*/ 52 w 231"/>
                <a:gd name="T23" fmla="*/ 185 h 298"/>
                <a:gd name="T24" fmla="*/ 114 w 231"/>
                <a:gd name="T25" fmla="*/ 122 h 298"/>
                <a:gd name="T26" fmla="*/ 177 w 231"/>
                <a:gd name="T27" fmla="*/ 185 h 298"/>
                <a:gd name="T28" fmla="*/ 114 w 231"/>
                <a:gd name="T29" fmla="*/ 247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1" h="298">
                  <a:moveTo>
                    <a:pt x="177" y="0"/>
                  </a:moveTo>
                  <a:cubicBezTo>
                    <a:pt x="177" y="91"/>
                    <a:pt x="177" y="91"/>
                    <a:pt x="177" y="91"/>
                  </a:cubicBezTo>
                  <a:cubicBezTo>
                    <a:pt x="158" y="78"/>
                    <a:pt x="137" y="72"/>
                    <a:pt x="113" y="72"/>
                  </a:cubicBezTo>
                  <a:cubicBezTo>
                    <a:pt x="50" y="72"/>
                    <a:pt x="0" y="122"/>
                    <a:pt x="0" y="185"/>
                  </a:cubicBezTo>
                  <a:cubicBezTo>
                    <a:pt x="0" y="247"/>
                    <a:pt x="50" y="298"/>
                    <a:pt x="113" y="298"/>
                  </a:cubicBezTo>
                  <a:cubicBezTo>
                    <a:pt x="137" y="298"/>
                    <a:pt x="159" y="291"/>
                    <a:pt x="177" y="279"/>
                  </a:cubicBezTo>
                  <a:cubicBezTo>
                    <a:pt x="177" y="293"/>
                    <a:pt x="177" y="293"/>
                    <a:pt x="177" y="293"/>
                  </a:cubicBezTo>
                  <a:cubicBezTo>
                    <a:pt x="231" y="293"/>
                    <a:pt x="231" y="293"/>
                    <a:pt x="231" y="293"/>
                  </a:cubicBezTo>
                  <a:cubicBezTo>
                    <a:pt x="231" y="0"/>
                    <a:pt x="231" y="0"/>
                    <a:pt x="231" y="0"/>
                  </a:cubicBezTo>
                  <a:lnTo>
                    <a:pt x="177" y="0"/>
                  </a:lnTo>
                  <a:close/>
                  <a:moveTo>
                    <a:pt x="114" y="247"/>
                  </a:moveTo>
                  <a:cubicBezTo>
                    <a:pt x="81" y="247"/>
                    <a:pt x="52" y="218"/>
                    <a:pt x="52" y="185"/>
                  </a:cubicBezTo>
                  <a:cubicBezTo>
                    <a:pt x="52" y="151"/>
                    <a:pt x="81" y="122"/>
                    <a:pt x="114" y="122"/>
                  </a:cubicBezTo>
                  <a:cubicBezTo>
                    <a:pt x="148" y="122"/>
                    <a:pt x="177" y="151"/>
                    <a:pt x="177" y="185"/>
                  </a:cubicBezTo>
                  <a:cubicBezTo>
                    <a:pt x="177" y="218"/>
                    <a:pt x="148" y="247"/>
                    <a:pt x="114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Rectangle 1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543" y="2378"/>
              <a:ext cx="128" cy="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Rectangle 17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2543" y="2555"/>
              <a:ext cx="128" cy="5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gray">
            <a:xfrm>
              <a:off x="1930" y="2378"/>
              <a:ext cx="552" cy="703"/>
            </a:xfrm>
            <a:custGeom>
              <a:avLst/>
              <a:gdLst>
                <a:gd name="T0" fmla="*/ 179 w 234"/>
                <a:gd name="T1" fmla="*/ 0 h 298"/>
                <a:gd name="T2" fmla="*/ 179 w 234"/>
                <a:gd name="T3" fmla="*/ 91 h 298"/>
                <a:gd name="T4" fmla="*/ 114 w 234"/>
                <a:gd name="T5" fmla="*/ 72 h 298"/>
                <a:gd name="T6" fmla="*/ 0 w 234"/>
                <a:gd name="T7" fmla="*/ 185 h 298"/>
                <a:gd name="T8" fmla="*/ 114 w 234"/>
                <a:gd name="T9" fmla="*/ 298 h 298"/>
                <a:gd name="T10" fmla="*/ 179 w 234"/>
                <a:gd name="T11" fmla="*/ 279 h 298"/>
                <a:gd name="T12" fmla="*/ 179 w 234"/>
                <a:gd name="T13" fmla="*/ 293 h 298"/>
                <a:gd name="T14" fmla="*/ 234 w 234"/>
                <a:gd name="T15" fmla="*/ 293 h 298"/>
                <a:gd name="T16" fmla="*/ 234 w 234"/>
                <a:gd name="T17" fmla="*/ 0 h 298"/>
                <a:gd name="T18" fmla="*/ 179 w 234"/>
                <a:gd name="T19" fmla="*/ 0 h 298"/>
                <a:gd name="T20" fmla="*/ 117 w 234"/>
                <a:gd name="T21" fmla="*/ 247 h 298"/>
                <a:gd name="T22" fmla="*/ 52 w 234"/>
                <a:gd name="T23" fmla="*/ 185 h 298"/>
                <a:gd name="T24" fmla="*/ 117 w 234"/>
                <a:gd name="T25" fmla="*/ 122 h 298"/>
                <a:gd name="T26" fmla="*/ 179 w 234"/>
                <a:gd name="T27" fmla="*/ 185 h 298"/>
                <a:gd name="T28" fmla="*/ 117 w 234"/>
                <a:gd name="T29" fmla="*/ 247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4" h="298">
                  <a:moveTo>
                    <a:pt x="179" y="0"/>
                  </a:moveTo>
                  <a:cubicBezTo>
                    <a:pt x="179" y="91"/>
                    <a:pt x="179" y="91"/>
                    <a:pt x="179" y="91"/>
                  </a:cubicBezTo>
                  <a:cubicBezTo>
                    <a:pt x="160" y="78"/>
                    <a:pt x="138" y="72"/>
                    <a:pt x="114" y="72"/>
                  </a:cubicBezTo>
                  <a:cubicBezTo>
                    <a:pt x="52" y="72"/>
                    <a:pt x="0" y="122"/>
                    <a:pt x="0" y="185"/>
                  </a:cubicBezTo>
                  <a:cubicBezTo>
                    <a:pt x="0" y="247"/>
                    <a:pt x="52" y="298"/>
                    <a:pt x="114" y="298"/>
                  </a:cubicBezTo>
                  <a:cubicBezTo>
                    <a:pt x="138" y="298"/>
                    <a:pt x="160" y="291"/>
                    <a:pt x="179" y="279"/>
                  </a:cubicBezTo>
                  <a:cubicBezTo>
                    <a:pt x="179" y="293"/>
                    <a:pt x="179" y="293"/>
                    <a:pt x="179" y="293"/>
                  </a:cubicBezTo>
                  <a:cubicBezTo>
                    <a:pt x="234" y="293"/>
                    <a:pt x="234" y="293"/>
                    <a:pt x="234" y="293"/>
                  </a:cubicBezTo>
                  <a:cubicBezTo>
                    <a:pt x="234" y="0"/>
                    <a:pt x="234" y="0"/>
                    <a:pt x="234" y="0"/>
                  </a:cubicBezTo>
                  <a:lnTo>
                    <a:pt x="179" y="0"/>
                  </a:lnTo>
                  <a:close/>
                  <a:moveTo>
                    <a:pt x="117" y="247"/>
                  </a:moveTo>
                  <a:cubicBezTo>
                    <a:pt x="81" y="247"/>
                    <a:pt x="52" y="218"/>
                    <a:pt x="52" y="185"/>
                  </a:cubicBezTo>
                  <a:cubicBezTo>
                    <a:pt x="52" y="151"/>
                    <a:pt x="81" y="122"/>
                    <a:pt x="117" y="122"/>
                  </a:cubicBezTo>
                  <a:cubicBezTo>
                    <a:pt x="150" y="122"/>
                    <a:pt x="179" y="151"/>
                    <a:pt x="179" y="185"/>
                  </a:cubicBezTo>
                  <a:cubicBezTo>
                    <a:pt x="179" y="218"/>
                    <a:pt x="150" y="247"/>
                    <a:pt x="117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gray">
            <a:xfrm>
              <a:off x="1340" y="2548"/>
              <a:ext cx="547" cy="533"/>
            </a:xfrm>
            <a:custGeom>
              <a:avLst/>
              <a:gdLst>
                <a:gd name="T0" fmla="*/ 179 w 232"/>
                <a:gd name="T1" fmla="*/ 3 h 226"/>
                <a:gd name="T2" fmla="*/ 179 w 232"/>
                <a:gd name="T3" fmla="*/ 19 h 226"/>
                <a:gd name="T4" fmla="*/ 113 w 232"/>
                <a:gd name="T5" fmla="*/ 0 h 226"/>
                <a:gd name="T6" fmla="*/ 0 w 232"/>
                <a:gd name="T7" fmla="*/ 113 h 226"/>
                <a:gd name="T8" fmla="*/ 113 w 232"/>
                <a:gd name="T9" fmla="*/ 226 h 226"/>
                <a:gd name="T10" fmla="*/ 179 w 232"/>
                <a:gd name="T11" fmla="*/ 207 h 226"/>
                <a:gd name="T12" fmla="*/ 179 w 232"/>
                <a:gd name="T13" fmla="*/ 221 h 226"/>
                <a:gd name="T14" fmla="*/ 232 w 232"/>
                <a:gd name="T15" fmla="*/ 221 h 226"/>
                <a:gd name="T16" fmla="*/ 232 w 232"/>
                <a:gd name="T17" fmla="*/ 3 h 226"/>
                <a:gd name="T18" fmla="*/ 179 w 232"/>
                <a:gd name="T19" fmla="*/ 3 h 226"/>
                <a:gd name="T20" fmla="*/ 114 w 232"/>
                <a:gd name="T21" fmla="*/ 175 h 226"/>
                <a:gd name="T22" fmla="*/ 52 w 232"/>
                <a:gd name="T23" fmla="*/ 113 h 226"/>
                <a:gd name="T24" fmla="*/ 114 w 232"/>
                <a:gd name="T25" fmla="*/ 50 h 226"/>
                <a:gd name="T26" fmla="*/ 179 w 232"/>
                <a:gd name="T27" fmla="*/ 113 h 226"/>
                <a:gd name="T28" fmla="*/ 114 w 232"/>
                <a:gd name="T29" fmla="*/ 17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2" h="226">
                  <a:moveTo>
                    <a:pt x="179" y="3"/>
                  </a:moveTo>
                  <a:cubicBezTo>
                    <a:pt x="179" y="19"/>
                    <a:pt x="179" y="19"/>
                    <a:pt x="179" y="19"/>
                  </a:cubicBezTo>
                  <a:cubicBezTo>
                    <a:pt x="160" y="6"/>
                    <a:pt x="137" y="0"/>
                    <a:pt x="113" y="0"/>
                  </a:cubicBezTo>
                  <a:cubicBezTo>
                    <a:pt x="51" y="0"/>
                    <a:pt x="0" y="50"/>
                    <a:pt x="0" y="113"/>
                  </a:cubicBezTo>
                  <a:cubicBezTo>
                    <a:pt x="0" y="175"/>
                    <a:pt x="51" y="226"/>
                    <a:pt x="113" y="226"/>
                  </a:cubicBezTo>
                  <a:cubicBezTo>
                    <a:pt x="138" y="226"/>
                    <a:pt x="160" y="219"/>
                    <a:pt x="179" y="207"/>
                  </a:cubicBezTo>
                  <a:cubicBezTo>
                    <a:pt x="179" y="221"/>
                    <a:pt x="179" y="221"/>
                    <a:pt x="179" y="221"/>
                  </a:cubicBezTo>
                  <a:cubicBezTo>
                    <a:pt x="232" y="221"/>
                    <a:pt x="232" y="221"/>
                    <a:pt x="232" y="221"/>
                  </a:cubicBezTo>
                  <a:cubicBezTo>
                    <a:pt x="232" y="3"/>
                    <a:pt x="232" y="3"/>
                    <a:pt x="232" y="3"/>
                  </a:cubicBezTo>
                  <a:lnTo>
                    <a:pt x="179" y="3"/>
                  </a:lnTo>
                  <a:close/>
                  <a:moveTo>
                    <a:pt x="114" y="175"/>
                  </a:moveTo>
                  <a:cubicBezTo>
                    <a:pt x="81" y="175"/>
                    <a:pt x="52" y="146"/>
                    <a:pt x="52" y="113"/>
                  </a:cubicBezTo>
                  <a:cubicBezTo>
                    <a:pt x="52" y="79"/>
                    <a:pt x="81" y="50"/>
                    <a:pt x="114" y="50"/>
                  </a:cubicBezTo>
                  <a:cubicBezTo>
                    <a:pt x="150" y="50"/>
                    <a:pt x="179" y="79"/>
                    <a:pt x="179" y="113"/>
                  </a:cubicBezTo>
                  <a:cubicBezTo>
                    <a:pt x="179" y="146"/>
                    <a:pt x="150" y="175"/>
                    <a:pt x="114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C95F28F2-977C-944F-AA9A-D32215CC92E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277444" y="4184471"/>
            <a:ext cx="1498131" cy="496880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368161558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CuadroTexto"/>
          <p:cNvSpPr txBox="1"/>
          <p:nvPr/>
        </p:nvSpPr>
        <p:spPr bwMode="gray">
          <a:xfrm>
            <a:off x="1200839" y="220337"/>
            <a:ext cx="7439399" cy="1366092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s-ES" sz="2800" b="1" dirty="0">
                <a:solidFill>
                  <a:schemeClr val="accent5">
                    <a:lumMod val="75000"/>
                  </a:schemeClr>
                </a:solidFill>
                <a:latin typeface="+mj-lt"/>
              </a:rPr>
              <a:t>VECTORES DE MEJORA</a:t>
            </a:r>
          </a:p>
        </p:txBody>
      </p:sp>
      <p:sp>
        <p:nvSpPr>
          <p:cNvPr id="10" name="9 CuadroTexto"/>
          <p:cNvSpPr txBox="1"/>
          <p:nvPr/>
        </p:nvSpPr>
        <p:spPr bwMode="gray">
          <a:xfrm>
            <a:off x="539827" y="3712684"/>
            <a:ext cx="5244028" cy="88685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s-ES" dirty="0">
                <a:latin typeface="+mn-lt"/>
              </a:rPr>
              <a:t>-Reconocimiento de emociones.</a:t>
            </a:r>
          </a:p>
          <a:p>
            <a:r>
              <a:rPr lang="es-ES" dirty="0">
                <a:latin typeface="+mn-lt"/>
              </a:rPr>
              <a:t>-Mejora de la compresión de los datos</a:t>
            </a:r>
            <a:r>
              <a:rPr lang="es-ES" sz="1200" dirty="0">
                <a:latin typeface="+mn-lt"/>
              </a:rPr>
              <a:t>.</a:t>
            </a:r>
          </a:p>
          <a:p>
            <a:endParaRPr lang="es-ES" sz="1200" dirty="0">
              <a:latin typeface="+mn-lt"/>
            </a:endParaRPr>
          </a:p>
        </p:txBody>
      </p:sp>
      <p:pic>
        <p:nvPicPr>
          <p:cNvPr id="11" name="10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27" y="1001598"/>
            <a:ext cx="4819708" cy="2711086"/>
          </a:xfrm>
          <a:prstGeom prst="rect">
            <a:avLst/>
          </a:prstGeom>
        </p:spPr>
      </p:pic>
      <p:pic>
        <p:nvPicPr>
          <p:cNvPr id="12" name="11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4320" y="1001598"/>
            <a:ext cx="3653389" cy="3294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312244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1" y="2146"/>
          <a:ext cx="1599" cy="15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1" y="2146"/>
                        <a:ext cx="1599" cy="15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1305759" y="669267"/>
            <a:ext cx="6349924" cy="4325708"/>
            <a:chOff x="611560" y="663538"/>
            <a:chExt cx="6300700" cy="4292175"/>
          </a:xfrm>
        </p:grpSpPr>
        <p:pic>
          <p:nvPicPr>
            <p:cNvPr id="62469" name="Picture 5" descr="http://ez-fit.com/img/ez-Q&amp;A.png"/>
            <p:cNvPicPr>
              <a:picLocks noChangeAspect="1" noChangeArrowheads="1"/>
            </p:cNvPicPr>
            <p:nvPr/>
          </p:nvPicPr>
          <p:blipFill rotWithShape="1"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438" b="7879"/>
            <a:stretch/>
          </p:blipFill>
          <p:spPr bwMode="auto">
            <a:xfrm>
              <a:off x="611560" y="4155926"/>
              <a:ext cx="5099720" cy="7997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Rounded Rectangular Callout 3"/>
            <p:cNvSpPr/>
            <p:nvPr/>
          </p:nvSpPr>
          <p:spPr bwMode="gray">
            <a:xfrm>
              <a:off x="1511660" y="663538"/>
              <a:ext cx="3060340" cy="2412268"/>
            </a:xfrm>
            <a:prstGeom prst="wedgeRoundRectCallout">
              <a:avLst>
                <a:gd name="adj1" fmla="val -1029"/>
                <a:gd name="adj2" fmla="val 74401"/>
                <a:gd name="adj3" fmla="val 16667"/>
              </a:avLst>
            </a:prstGeom>
            <a:noFill/>
            <a:ln w="76200" cap="sq">
              <a:solidFill>
                <a:schemeClr val="accent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676" cap="all" dirty="0">
                  <a:solidFill>
                    <a:schemeClr val="accent3">
                      <a:lumMod val="50000"/>
                    </a:schemeClr>
                  </a:solidFill>
                  <a:latin typeface="adineue PRO Black" panose="020B0A03020201060004" pitchFamily="34" charset="0"/>
                  <a:cs typeface="AdihausDIN" panose="020B0504020101020102" pitchFamily="34" charset="0"/>
                </a:rPr>
                <a:t>Q</a:t>
              </a:r>
            </a:p>
          </p:txBody>
        </p:sp>
        <p:sp>
          <p:nvSpPr>
            <p:cNvPr id="5" name="Oval Callout 4"/>
            <p:cNvSpPr/>
            <p:nvPr/>
          </p:nvSpPr>
          <p:spPr bwMode="gray">
            <a:xfrm>
              <a:off x="3671900" y="1347614"/>
              <a:ext cx="3240360" cy="2628292"/>
            </a:xfrm>
            <a:prstGeom prst="wedgeEllipseCallout">
              <a:avLst>
                <a:gd name="adj1" fmla="val -56271"/>
                <a:gd name="adj2" fmla="val 56027"/>
              </a:avLst>
            </a:prstGeom>
            <a:noFill/>
            <a:ln w="76200" cap="sq">
              <a:solidFill>
                <a:schemeClr val="accent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676" cap="all" dirty="0">
                  <a:solidFill>
                    <a:schemeClr val="accent3">
                      <a:lumMod val="50000"/>
                    </a:schemeClr>
                  </a:solidFill>
                  <a:latin typeface="adineue PRO Black" panose="020B0A03020201060004" pitchFamily="34" charset="0"/>
                  <a:cs typeface="AdihausDIN" panose="020B0504020101020102" pitchFamily="34" charset="0"/>
                </a:rPr>
                <a:t>A</a:t>
              </a:r>
            </a:p>
          </p:txBody>
        </p:sp>
      </p:grpSp>
      <p:sp>
        <p:nvSpPr>
          <p:cNvPr id="7" name="TextBox 6"/>
          <p:cNvSpPr txBox="1"/>
          <p:nvPr/>
        </p:nvSpPr>
        <p:spPr bwMode="gray">
          <a:xfrm>
            <a:off x="4535149" y="1975538"/>
            <a:ext cx="798276" cy="1015988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square" lIns="72563" tIns="72563" rIns="72563" bIns="72563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442" b="1" dirty="0">
                <a:solidFill>
                  <a:schemeClr val="accent3">
                    <a:lumMod val="40000"/>
                    <a:lumOff val="60000"/>
                  </a:schemeClr>
                </a:solidFill>
                <a:cs typeface="AdihausDIN" panose="020B0504020101020102" pitchFamily="34" charset="0"/>
              </a:rPr>
              <a:t>&amp;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6E0F7A4-6AAE-A34D-A161-36A8AD4F689E}"/>
              </a:ext>
            </a:extLst>
          </p:cNvPr>
          <p:cNvSpPr txBox="1"/>
          <p:nvPr/>
        </p:nvSpPr>
        <p:spPr bwMode="gray">
          <a:xfrm>
            <a:off x="3010619" y="2122098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endParaRPr lang="es-ES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3127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0" y="545"/>
            <a:ext cx="9211158" cy="518368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280" y="2519275"/>
            <a:ext cx="9209503" cy="1592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90884">
              <a:defRPr/>
            </a:pPr>
            <a:r>
              <a:rPr lang="de-DE" sz="9748" kern="0" dirty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ineue PRO TT Black" panose="020B0A03020201060004" pitchFamily="34" charset="0"/>
              </a:rPr>
              <a:t>¡GRACIAS!</a:t>
            </a:r>
            <a:endParaRPr lang="en-US" sz="9748" kern="0" dirty="0">
              <a:solidFill>
                <a:schemeClr val="accent1">
                  <a:lumMod val="60000"/>
                  <a:lumOff val="4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ineue PRO TT Black" panose="020B0A0302020106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7651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6EA213B2-0A38-1D43-B688-78BDB5EBF0A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5573" r="5573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F7349730-A403-3D41-8A7C-6B67D5B73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>
                <a:solidFill>
                  <a:schemeClr val="accent3"/>
                </a:solidFill>
              </a:rPr>
              <a:t>remember</a:t>
            </a:r>
            <a:endParaRPr lang="es-ES" dirty="0">
              <a:solidFill>
                <a:schemeClr val="accent3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6B645E-BD77-FF41-B062-CF3F39B189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E34299-5BEA-454C-8EB1-15450370F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B86BDC-B817-A04E-873F-2362778EAE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6A2D435-C9ED-D340-B141-08A51670BB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15998" indent="-215998" algn="l">
              <a:buFont typeface="Arial" charset="0"/>
              <a:buChar char="•"/>
            </a:pPr>
            <a:r>
              <a:rPr lang="en-US" b="1" dirty="0"/>
              <a:t>Get something working (</a:t>
            </a:r>
            <a:r>
              <a:rPr lang="en-US" b="1" dirty="0" err="1"/>
              <a:t>PoC</a:t>
            </a:r>
            <a:r>
              <a:rPr lang="en-US" b="1" dirty="0"/>
              <a:t>)</a:t>
            </a:r>
          </a:p>
          <a:p>
            <a:pPr algn="l"/>
            <a:endParaRPr lang="en-US" b="1" dirty="0"/>
          </a:p>
          <a:p>
            <a:pPr marL="215998" indent="-215998" algn="l">
              <a:buFont typeface="Arial" charset="0"/>
              <a:buChar char="•"/>
            </a:pPr>
            <a:r>
              <a:rPr lang="en-US" b="1" dirty="0"/>
              <a:t>Use all your technical skills</a:t>
            </a:r>
          </a:p>
          <a:p>
            <a:pPr marL="215998" indent="-215998" algn="l">
              <a:buFont typeface="Arial" charset="0"/>
              <a:buChar char="•"/>
            </a:pPr>
            <a:endParaRPr lang="en-US" b="1" dirty="0"/>
          </a:p>
          <a:p>
            <a:pPr marL="215998" indent="-215998" algn="l">
              <a:buFont typeface="Arial" charset="0"/>
              <a:buChar char="•"/>
            </a:pPr>
            <a:r>
              <a:rPr lang="en-US" b="1" dirty="0"/>
              <a:t>Try to create a real business impact  </a:t>
            </a:r>
          </a:p>
          <a:p>
            <a:pPr algn="l"/>
            <a:endParaRPr lang="en-US" b="1" dirty="0"/>
          </a:p>
          <a:p>
            <a:pPr marL="215998" indent="-215998" algn="l">
              <a:buFont typeface="Arial" charset="0"/>
              <a:buChar char="•"/>
            </a:pPr>
            <a:r>
              <a:rPr lang="en-US" b="1" dirty="0"/>
              <a:t>To prepare a nice presentation (recorded demo)</a:t>
            </a:r>
          </a:p>
          <a:p>
            <a:pPr>
              <a:lnSpc>
                <a:spcPct val="250000"/>
              </a:lnSpc>
            </a:pPr>
            <a:endParaRPr lang="en-US" b="1" dirty="0">
              <a:solidFill>
                <a:srgbClr val="00A0BF"/>
              </a:solidFill>
              <a:latin typeface="AdihausDIN" charset="0"/>
              <a:ea typeface="AdihausDIN" charset="0"/>
              <a:cs typeface="AdihausDIN" charset="0"/>
            </a:endParaRPr>
          </a:p>
          <a:p>
            <a:pPr marL="215998" indent="-215998" algn="l">
              <a:buFont typeface="Arial" charset="0"/>
              <a:buChar char="•"/>
            </a:pPr>
            <a:endParaRPr lang="en-US" b="1" dirty="0"/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91285891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549F0B80-1E0F-B542-A09F-97C3CFAC48D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5573" r="5573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4F16BD6-709C-0D45-A2E3-E9D5931C17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>
                <a:solidFill>
                  <a:schemeClr val="accent3"/>
                </a:solidFill>
              </a:rPr>
              <a:t>ShoW</a:t>
            </a:r>
            <a:endParaRPr lang="es-ES" dirty="0">
              <a:solidFill>
                <a:schemeClr val="accent3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E230A7-7D9D-064D-AEF2-01A76050C5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01EB6C-7828-8E43-A956-51D347A1DC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1D6F75-9585-D140-85D9-1231212CC9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6C1F28-DFAF-A24D-B9F8-FB483E9147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/>
              <a:t>A STORY THAT OTHERS CAN REMEMBER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/>
              <a:t>FIND REAL TANGIBLE VALUE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/>
              <a:t>KEEP IT FOCUSED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/>
              <a:t>MAKE THE EXPERIENCE LIVE</a:t>
            </a:r>
          </a:p>
          <a:p>
            <a:pPr>
              <a:lnSpc>
                <a:spcPct val="250000"/>
              </a:lnSpc>
            </a:pPr>
            <a:endParaRPr lang="en-US" b="1" dirty="0">
              <a:solidFill>
                <a:srgbClr val="00A0BF"/>
              </a:solidFill>
              <a:latin typeface="AdihausDIN" charset="0"/>
              <a:ea typeface="AdihausDIN" charset="0"/>
              <a:cs typeface="AdihausDI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4490215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E451D926-0F2D-F345-9DA7-0043160E074E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5573" r="5573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F7349730-A403-3D41-8A7C-6B67D5B73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>
                <a:solidFill>
                  <a:schemeClr val="accent3"/>
                </a:solidFill>
              </a:rPr>
              <a:t>Judging</a:t>
            </a:r>
            <a:r>
              <a:rPr lang="es-ES" dirty="0">
                <a:solidFill>
                  <a:schemeClr val="accent3"/>
                </a:solidFill>
              </a:rPr>
              <a:t> </a:t>
            </a:r>
            <a:r>
              <a:rPr lang="es-ES" dirty="0" err="1">
                <a:solidFill>
                  <a:schemeClr val="accent3"/>
                </a:solidFill>
              </a:rPr>
              <a:t>criteria</a:t>
            </a:r>
            <a:endParaRPr lang="es-ES" dirty="0">
              <a:solidFill>
                <a:schemeClr val="accent3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6B645E-BD77-FF41-B062-CF3F39B189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E34299-5BEA-454C-8EB1-15450370F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B86BDC-B817-A04E-873F-2362778EAE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6A2D435-C9ED-D340-B141-08A51670BB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dirty="0"/>
              <a:t>TECHNICAL IMPLEMENTATION AND </a:t>
            </a:r>
            <a:r>
              <a:rPr lang="es-ES" b="1" dirty="0"/>
              <a:t>COLLABORATION</a:t>
            </a:r>
            <a:r>
              <a:rPr lang="es-ES" dirty="0"/>
              <a:t> FOR THE USE OF HETEROGENEOUS TECHNOLOGIES: </a:t>
            </a:r>
            <a:r>
              <a:rPr lang="es-ES" b="1" dirty="0">
                <a:solidFill>
                  <a:schemeClr val="accent4">
                    <a:lumMod val="75000"/>
                  </a:schemeClr>
                </a:solidFill>
              </a:rPr>
              <a:t>25%</a:t>
            </a:r>
            <a:endParaRPr lang="es-ES" b="1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/>
              <a:t>CONFIDENCE</a:t>
            </a:r>
            <a:r>
              <a:rPr lang="es-ES" dirty="0"/>
              <a:t> TO ADD VALUE AND CREATE A REAL-LIFE BUSINESS IMPACT: </a:t>
            </a:r>
            <a:r>
              <a:rPr lang="es-ES" b="1" dirty="0">
                <a:solidFill>
                  <a:schemeClr val="accent4">
                    <a:lumMod val="75000"/>
                  </a:schemeClr>
                </a:solidFill>
              </a:rPr>
              <a:t>25%</a:t>
            </a:r>
            <a:endParaRPr lang="es-ES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dirty="0"/>
              <a:t>EFFECTIVE </a:t>
            </a:r>
            <a:r>
              <a:rPr lang="es-ES" b="1" dirty="0"/>
              <a:t>COMMUNICATION</a:t>
            </a:r>
            <a:r>
              <a:rPr lang="es-ES" dirty="0"/>
              <a:t> AND SUMMARY OF RESULTS: </a:t>
            </a:r>
            <a:r>
              <a:rPr lang="es-ES" b="1" dirty="0">
                <a:solidFill>
                  <a:schemeClr val="accent4">
                    <a:lumMod val="75000"/>
                  </a:schemeClr>
                </a:solidFill>
              </a:rPr>
              <a:t>25%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dirty="0"/>
              <a:t>INNOVATION AND </a:t>
            </a:r>
            <a:r>
              <a:rPr lang="es-ES" b="1" dirty="0"/>
              <a:t>CREATIVITY: </a:t>
            </a:r>
            <a:r>
              <a:rPr lang="es-ES" b="1" dirty="0">
                <a:solidFill>
                  <a:schemeClr val="accent4">
                    <a:lumMod val="75000"/>
                  </a:schemeClr>
                </a:solidFill>
              </a:rPr>
              <a:t>25%</a:t>
            </a:r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09789744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342CA01F-6A77-8443-A6C9-2861BC5F260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5573" r="5573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4F16BD6-709C-0D45-A2E3-E9D5931C17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solidFill>
                  <a:schemeClr val="accent3"/>
                </a:solidFill>
              </a:rPr>
              <a:t>ru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E230A7-7D9D-064D-AEF2-01A76050C5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01EB6C-7828-8E43-A956-51D347A1DC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1D6F75-9585-D140-85D9-1231212CC9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6C1F28-DFAF-A24D-B9F8-FB483E9147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dirty="0" err="1"/>
              <a:t>Only</a:t>
            </a:r>
            <a:r>
              <a:rPr lang="es-ES" dirty="0"/>
              <a:t> </a:t>
            </a:r>
            <a:r>
              <a:rPr lang="es-ES" b="1" dirty="0" err="1"/>
              <a:t>genuine</a:t>
            </a:r>
            <a:r>
              <a:rPr lang="es-ES" b="1" dirty="0"/>
              <a:t> </a:t>
            </a:r>
            <a:r>
              <a:rPr lang="es-ES" b="1" dirty="0" err="1"/>
              <a:t>work</a:t>
            </a:r>
            <a:r>
              <a:rPr lang="es-ES" dirty="0"/>
              <a:t> done </a:t>
            </a:r>
            <a:r>
              <a:rPr lang="es-ES" dirty="0" err="1"/>
              <a:t>along</a:t>
            </a:r>
            <a:r>
              <a:rPr lang="es-ES" dirty="0"/>
              <a:t> </a:t>
            </a:r>
            <a:r>
              <a:rPr lang="es-ES" dirty="0" err="1"/>
              <a:t>this</a:t>
            </a:r>
            <a:r>
              <a:rPr lang="es-ES" dirty="0"/>
              <a:t> </a:t>
            </a:r>
            <a:r>
              <a:rPr lang="es-ES" dirty="0" err="1"/>
              <a:t>hackathon</a:t>
            </a:r>
            <a:r>
              <a:rPr lang="es-ES" dirty="0"/>
              <a:t> </a:t>
            </a:r>
            <a:r>
              <a:rPr lang="es-ES" dirty="0" err="1"/>
              <a:t>will</a:t>
            </a:r>
            <a:r>
              <a:rPr lang="es-ES" dirty="0"/>
              <a:t> be </a:t>
            </a:r>
            <a:r>
              <a:rPr lang="es-ES" dirty="0" err="1"/>
              <a:t>evaluated</a:t>
            </a:r>
            <a:endParaRPr lang="es-ES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/>
              <a:t>OPEN SOURCE </a:t>
            </a:r>
            <a:r>
              <a:rPr lang="es-ES" dirty="0" err="1"/>
              <a:t>by</a:t>
            </a:r>
            <a:r>
              <a:rPr lang="es-ES" dirty="0"/>
              <a:t> defaul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dirty="0" err="1"/>
              <a:t>The</a:t>
            </a:r>
            <a:r>
              <a:rPr lang="es-ES" dirty="0"/>
              <a:t> more </a:t>
            </a:r>
            <a:r>
              <a:rPr lang="es-ES" b="1" dirty="0" err="1"/>
              <a:t>relevant</a:t>
            </a:r>
            <a:r>
              <a:rPr lang="es-ES" dirty="0"/>
              <a:t> to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llenge</a:t>
            </a:r>
            <a:r>
              <a:rPr lang="es-ES" dirty="0"/>
              <a:t> </a:t>
            </a:r>
            <a:r>
              <a:rPr lang="es-ES" dirty="0" err="1"/>
              <a:t>topic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better</a:t>
            </a:r>
            <a:endParaRPr lang="es-ES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 err="1"/>
              <a:t>All</a:t>
            </a:r>
            <a:r>
              <a:rPr lang="es-ES" b="1" dirty="0"/>
              <a:t> </a:t>
            </a:r>
            <a:r>
              <a:rPr lang="es-ES" b="1" dirty="0" err="1"/>
              <a:t>technical</a:t>
            </a:r>
            <a:r>
              <a:rPr lang="es-ES" b="1" dirty="0"/>
              <a:t> </a:t>
            </a:r>
            <a:r>
              <a:rPr lang="es-ES" b="1" dirty="0" err="1"/>
              <a:t>skills</a:t>
            </a:r>
            <a:r>
              <a:rPr lang="es-ES" b="1" dirty="0"/>
              <a:t> </a:t>
            </a:r>
            <a:r>
              <a:rPr lang="es-ES" dirty="0"/>
              <a:t>are </a:t>
            </a:r>
            <a:r>
              <a:rPr lang="es-ES" dirty="0" err="1"/>
              <a:t>welcome</a:t>
            </a:r>
            <a:endParaRPr lang="es-ES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dirty="0" err="1"/>
              <a:t>Presentations</a:t>
            </a:r>
            <a:r>
              <a:rPr lang="es-ES" b="1" dirty="0"/>
              <a:t>: 6 + 2 + 2</a:t>
            </a:r>
          </a:p>
          <a:p>
            <a:pPr algn="l"/>
            <a:r>
              <a:rPr lang="es-ES" dirty="0"/>
              <a:t>(6 </a:t>
            </a:r>
            <a:r>
              <a:rPr lang="es-ES" dirty="0" err="1"/>
              <a:t>mins</a:t>
            </a:r>
            <a:r>
              <a:rPr lang="es-ES" dirty="0"/>
              <a:t> pitch + 2 </a:t>
            </a:r>
            <a:r>
              <a:rPr lang="es-ES" dirty="0" err="1"/>
              <a:t>mins</a:t>
            </a:r>
            <a:r>
              <a:rPr lang="es-ES" dirty="0"/>
              <a:t> </a:t>
            </a:r>
            <a:r>
              <a:rPr lang="es-ES" dirty="0" err="1"/>
              <a:t>questions</a:t>
            </a:r>
            <a:r>
              <a:rPr lang="es-ES" dirty="0"/>
              <a:t> + </a:t>
            </a:r>
          </a:p>
          <a:p>
            <a:pPr algn="l"/>
            <a:r>
              <a:rPr lang="es-ES" dirty="0"/>
              <a:t>2 </a:t>
            </a:r>
            <a:r>
              <a:rPr lang="es-ES" dirty="0" err="1"/>
              <a:t>mins</a:t>
            </a:r>
            <a:r>
              <a:rPr lang="es-ES" dirty="0"/>
              <a:t> </a:t>
            </a:r>
            <a:r>
              <a:rPr lang="es-ES" dirty="0" err="1"/>
              <a:t>switching</a:t>
            </a:r>
            <a:r>
              <a:rPr lang="es-ES" dirty="0"/>
              <a:t> </a:t>
            </a:r>
            <a:r>
              <a:rPr lang="es-ES" dirty="0" err="1"/>
              <a:t>teams</a:t>
            </a:r>
            <a:r>
              <a:rPr lang="es-E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657336376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4AFB7C5-8F8B-492E-BE23-4B9253EE3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3320" y="288926"/>
            <a:ext cx="7775179" cy="575468"/>
          </a:xfrm>
        </p:spPr>
        <p:txBody>
          <a:bodyPr/>
          <a:lstStyle/>
          <a:p>
            <a:pPr algn="ctr"/>
            <a:r>
              <a:rPr lang="en-GB" sz="28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adineue TEXT Black"/>
              </a:rPr>
              <a:t>MIEMBROS DEL EQUIPO</a:t>
            </a:r>
          </a:p>
        </p:txBody>
      </p:sp>
      <p:pic>
        <p:nvPicPr>
          <p:cNvPr id="8" name="7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147" y="611695"/>
            <a:ext cx="7569352" cy="4257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684452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>
            <a:extLst>
              <a:ext uri="{FF2B5EF4-FFF2-40B4-BE49-F238E27FC236}">
                <a16:creationId xmlns:a16="http://schemas.microsoft.com/office/drawing/2014/main" id="{EEA2B42A-AE83-4E43-8759-C1C31497EF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897"/>
          <a:stretch/>
        </p:blipFill>
        <p:spPr bwMode="auto">
          <a:xfrm>
            <a:off x="1" y="5137"/>
            <a:ext cx="9233765" cy="5179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20">
            <a:extLst>
              <a:ext uri="{FF2B5EF4-FFF2-40B4-BE49-F238E27FC236}">
                <a16:creationId xmlns:a16="http://schemas.microsoft.com/office/drawing/2014/main" id="{592E8160-8998-954E-B9DE-BDE0E2473914}"/>
              </a:ext>
            </a:extLst>
          </p:cNvPr>
          <p:cNvSpPr/>
          <p:nvPr/>
        </p:nvSpPr>
        <p:spPr bwMode="gray">
          <a:xfrm>
            <a:off x="-793" y="5137"/>
            <a:ext cx="9215435" cy="5186927"/>
          </a:xfrm>
          <a:prstGeom prst="rect">
            <a:avLst/>
          </a:prstGeom>
          <a:solidFill>
            <a:srgbClr val="000000">
              <a:alpha val="50196"/>
            </a:srgbClr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411" cap="all" dirty="0" err="1">
              <a:solidFill>
                <a:prstClr val="white"/>
              </a:solidFill>
              <a:latin typeface="adineue PRO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Title 28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accent4">
                    <a:lumMod val="75000"/>
                  </a:schemeClr>
                </a:solidFill>
              </a:rPr>
              <a:t>AGENDA</a:t>
            </a:r>
            <a:endParaRPr lang="en-US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en-US" sz="2000" b="1" dirty="0" err="1">
                <a:latin typeface="adineue PRO TT" panose="020B0503020201060004" pitchFamily="34" charset="77"/>
              </a:rPr>
              <a:t>Evolución</a:t>
            </a:r>
            <a:r>
              <a:rPr lang="en-US" sz="2000" b="1" dirty="0">
                <a:latin typeface="adineue PRO TT" panose="020B0503020201060004" pitchFamily="34" charset="77"/>
              </a:rPr>
              <a:t> del </a:t>
            </a:r>
            <a:r>
              <a:rPr lang="en-US" sz="2000" b="1" dirty="0" err="1">
                <a:latin typeface="adineue PRO TT" panose="020B0503020201060004" pitchFamily="34" charset="77"/>
              </a:rPr>
              <a:t>deporte</a:t>
            </a:r>
            <a:endParaRPr lang="en-US" sz="2000" b="1" dirty="0">
              <a:latin typeface="adineue PRO TT" panose="020B0503020201060004" pitchFamily="34" charset="77"/>
            </a:endParaRPr>
          </a:p>
          <a:p>
            <a:r>
              <a:rPr lang="de-DE" sz="2000" b="1" dirty="0">
                <a:latin typeface="adineue PRO TT" panose="020B0503020201060004" pitchFamily="34" charset="77"/>
              </a:rPr>
              <a:t>ENFOQUE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VALOR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DEMO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Vectores de mejora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Q&amp;A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893B44C-8646-624C-9133-5F932F3ADC74}"/>
              </a:ext>
            </a:extLst>
          </p:cNvPr>
          <p:cNvCxnSpPr>
            <a:cxnSpLocks/>
          </p:cNvCxnSpPr>
          <p:nvPr/>
        </p:nvCxnSpPr>
        <p:spPr>
          <a:xfrm>
            <a:off x="1727200" y="1763713"/>
            <a:ext cx="0" cy="3132137"/>
          </a:xfrm>
          <a:prstGeom prst="line">
            <a:avLst/>
          </a:prstGeom>
          <a:ln w="28575" cmpd="sng">
            <a:solidFill>
              <a:schemeClr val="accent1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3428548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b="1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EVOLUCIóN</a:t>
            </a:r>
            <a:r>
              <a:rPr lang="en-US" sz="18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DEL DEPORTE</a:t>
            </a:r>
          </a:p>
        </p:txBody>
      </p:sp>
      <p:pic>
        <p:nvPicPr>
          <p:cNvPr id="8" name="7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734" y="1379477"/>
            <a:ext cx="3269643" cy="2654613"/>
          </a:xfrm>
          <a:prstGeom prst="rect">
            <a:avLst/>
          </a:prstGeom>
        </p:spPr>
      </p:pic>
      <p:pic>
        <p:nvPicPr>
          <p:cNvPr id="9" name="8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3294" y="207111"/>
            <a:ext cx="3614246" cy="2043475"/>
          </a:xfrm>
          <a:prstGeom prst="rect">
            <a:avLst/>
          </a:prstGeom>
        </p:spPr>
      </p:pic>
      <p:pic>
        <p:nvPicPr>
          <p:cNvPr id="10" name="9 Image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3294" y="2472710"/>
            <a:ext cx="3614246" cy="2424728"/>
          </a:xfrm>
          <a:prstGeom prst="rect">
            <a:avLst/>
          </a:prstGeom>
        </p:spPr>
      </p:pic>
      <p:sp>
        <p:nvSpPr>
          <p:cNvPr id="11" name="10 Flecha derecha"/>
          <p:cNvSpPr/>
          <p:nvPr/>
        </p:nvSpPr>
        <p:spPr bwMode="gray">
          <a:xfrm rot="19267003">
            <a:off x="3554181" y="1899946"/>
            <a:ext cx="701532" cy="553336"/>
          </a:xfrm>
          <a:prstGeom prst="rightArrow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s-ES" sz="1200" b="1" dirty="0">
              <a:solidFill>
                <a:srgbClr val="FFC000"/>
              </a:solidFill>
              <a:cs typeface="AdihausDIN Cn" panose="020B0506020101010102" pitchFamily="34" charset="0"/>
            </a:endParaRPr>
          </a:p>
        </p:txBody>
      </p:sp>
      <p:sp>
        <p:nvSpPr>
          <p:cNvPr id="12" name="11 Flecha derecha"/>
          <p:cNvSpPr/>
          <p:nvPr/>
        </p:nvSpPr>
        <p:spPr bwMode="gray">
          <a:xfrm rot="5400000">
            <a:off x="5620895" y="2156542"/>
            <a:ext cx="599045" cy="501438"/>
          </a:xfrm>
          <a:prstGeom prst="rightArrow">
            <a:avLst/>
          </a:prstGeom>
          <a:solidFill>
            <a:schemeClr val="accent5">
              <a:lumMod val="90000"/>
            </a:schemeClr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s-ES" sz="1200" b="1" dirty="0">
              <a:solidFill>
                <a:srgbClr val="FFC000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1862496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11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7117"/>
            <a:ext cx="9215438" cy="5107657"/>
          </a:xfrm>
          <a:prstGeom prst="rect">
            <a:avLst/>
          </a:prstGeom>
        </p:spPr>
      </p:pic>
      <p:sp>
        <p:nvSpPr>
          <p:cNvPr id="13" name="12 CuadroTexto"/>
          <p:cNvSpPr txBox="1"/>
          <p:nvPr/>
        </p:nvSpPr>
        <p:spPr bwMode="gray">
          <a:xfrm>
            <a:off x="1498294" y="231354"/>
            <a:ext cx="6277281" cy="77118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s-ES" sz="2800" b="1" dirty="0">
                <a:latin typeface="+mj-lt"/>
              </a:rPr>
              <a:t>ENFOQUE</a:t>
            </a:r>
          </a:p>
        </p:txBody>
      </p:sp>
      <p:sp>
        <p:nvSpPr>
          <p:cNvPr id="14" name="13 CuadroTexto"/>
          <p:cNvSpPr txBox="1"/>
          <p:nvPr/>
        </p:nvSpPr>
        <p:spPr bwMode="gray">
          <a:xfrm>
            <a:off x="550843" y="3139807"/>
            <a:ext cx="4351663" cy="145422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s-ES" sz="2800" dirty="0">
                <a:latin typeface="adineue PRO TT"/>
              </a:rPr>
              <a:t>-Rendimiento.</a:t>
            </a:r>
          </a:p>
          <a:p>
            <a:r>
              <a:rPr lang="es-ES" sz="2800" dirty="0">
                <a:latin typeface="adineue PRO TT"/>
              </a:rPr>
              <a:t>-Resultados.</a:t>
            </a:r>
          </a:p>
          <a:p>
            <a:r>
              <a:rPr lang="es-ES" sz="2800" dirty="0">
                <a:latin typeface="adineue PRO TT"/>
              </a:rPr>
              <a:t>-Efectividad.</a:t>
            </a:r>
          </a:p>
        </p:txBody>
      </p:sp>
    </p:spTree>
    <p:extLst>
      <p:ext uri="{BB962C8B-B14F-4D97-AF65-F5344CB8AC3E}">
        <p14:creationId xmlns:p14="http://schemas.microsoft.com/office/powerpoint/2010/main" val="4128689788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6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Valor</a:t>
            </a:r>
          </a:p>
        </p:txBody>
      </p:sp>
      <p:pic>
        <p:nvPicPr>
          <p:cNvPr id="8" name="7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573" y="764758"/>
            <a:ext cx="5111827" cy="3228542"/>
          </a:xfrm>
          <a:prstGeom prst="rect">
            <a:avLst/>
          </a:prstGeom>
        </p:spPr>
      </p:pic>
      <p:pic>
        <p:nvPicPr>
          <p:cNvPr id="9" name="8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3098" y="1839816"/>
            <a:ext cx="3812933" cy="2864385"/>
          </a:xfrm>
          <a:prstGeom prst="rect">
            <a:avLst/>
          </a:prstGeom>
        </p:spPr>
      </p:pic>
      <p:sp>
        <p:nvSpPr>
          <p:cNvPr id="10" name="9 CuadroTexto"/>
          <p:cNvSpPr txBox="1"/>
          <p:nvPr/>
        </p:nvSpPr>
        <p:spPr bwMode="gray">
          <a:xfrm>
            <a:off x="374573" y="3993300"/>
            <a:ext cx="4098525" cy="90338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s-ES" dirty="0">
                <a:latin typeface="+mn-lt"/>
              </a:rPr>
              <a:t>-Mejora de hábitos visuales.</a:t>
            </a:r>
          </a:p>
          <a:p>
            <a:r>
              <a:rPr lang="es-ES" dirty="0">
                <a:latin typeface="+mn-lt"/>
              </a:rPr>
              <a:t>-Monitorización de estímulos.</a:t>
            </a:r>
          </a:p>
          <a:p>
            <a:r>
              <a:rPr lang="es-ES" dirty="0">
                <a:latin typeface="+mn-lt"/>
              </a:rPr>
              <a:t>-Recolección de datos.</a:t>
            </a:r>
          </a:p>
        </p:txBody>
      </p:sp>
    </p:spTree>
    <p:extLst>
      <p:ext uri="{BB962C8B-B14F-4D97-AF65-F5344CB8AC3E}">
        <p14:creationId xmlns:p14="http://schemas.microsoft.com/office/powerpoint/2010/main" val="242297976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4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Demo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6BD1AA8E-FCFD-4695-9E7D-7678D63CD0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734" y="1352989"/>
            <a:ext cx="3758173" cy="2478795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680806AF-E867-4068-9F88-383F6E8718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5323" y="1543672"/>
            <a:ext cx="4858409" cy="2097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067996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AD6580E-C1D7-4E37-8E0A-A4B191451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A573ADF2-9290-46BC-AC57-730BE42B75F3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D839B20-253C-4BA6-A85F-27F38D29A7D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E65EF151-546E-4834-B9B8-F77E52F67BF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F90A718C-DBCD-4FF2-B7ED-F09D27A8D7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345" y="1553165"/>
            <a:ext cx="9004747" cy="1853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890179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972B4C7-3A7D-4F53-A560-E269D89107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11C9F07-65A5-4385-BA47-3774105A34A6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F3FC364-3CFD-4A26-9376-67CE9699939B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3A8704C-0D92-4701-9EB1-56712BAC10F3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1E54BEAF-3E4B-4150-A75B-BC827EB04C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523" y="288926"/>
            <a:ext cx="8934391" cy="437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4488131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ISPRING_RESOURCE_PATHS_HASH_2" val="43ef732248e4e4fbc1f78a43fe4c73af8c5bffc"/>
  <p:tag name="ISPRING_RESOURCE_PATHS_HASH_PRESENTER" val="15e96bdfcb49be15f1326379da21b3357065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44f6cc6-4b15-4b6d-8a32-1af3767c57a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d22709b-08ff-43bb-b10c-53a69caedfe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87e198c-37a6-41b4-b6af-43ea232db58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9a0373-93a7-4ffa-96e1-104fede0436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781817d-fe2d-46ac-a9ea-d5a8e649b64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b2bad61-261e-4449-938a-ae838d5f7cf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ae128e2-d0aa-4c6a-9d52-63f426bf4e6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9decabc-fd87-4a53-a96b-65059b7e4e7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bcf6756-3905-4529-9446-20bec88e5c5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525a482-56a5-443d-bdf7-427b9ff9a80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102ffa4-91a8-4bda-b7ad-091f8184b2a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82981e6-dfc4-4855-a73c-5c76ce611d2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8f60d7a-fa99-4b2e-8ca5-cda2836d143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aa45a3e-b9ac-4519-9428-6ac73a44d88e"/>
  <p:tag name="MIO_EK" val="2476"/>
  <p:tag name="MIO_EKGUID" val="3583ed02-b2d5-424f-b0d3-bd70505e40ba"/>
  <p:tag name="MIO_UPDATE" val="True"/>
  <p:tag name="MIO_VERSION" val="17.08.2016 11:30:32"/>
  <p:tag name="MIO_DBID" val="BC504D36-830F-4A8E-A2F2-2ABC5D2D9ABF"/>
  <p:tag name="MIO_LASTDOWNLOADED" val="06.04.2017 10:35:02"/>
  <p:tag name="MIO_OBJECTNAME" val="Originals"/>
  <p:tag name="MIO_LASTEDITORNAME" val="Christoph Gegenheim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deaf69a-c9c3-4138-b52f-cdf00ab13fec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491bb59-33c1-49ee-a27f-fa21d7d6ef48"/>
</p:tagLst>
</file>

<file path=ppt/theme/theme1.xml><?xml version="1.0" encoding="utf-8"?>
<a:theme xmlns:a="http://schemas.openxmlformats.org/drawingml/2006/main" name="GLOBAL TEMPLATE 2017 (BOLD PINK)">
  <a:themeElements>
    <a:clrScheme name="BOLD PINK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640A32"/>
      </a:accent1>
      <a:accent2>
        <a:srgbClr val="960F46"/>
      </a:accent2>
      <a:accent3>
        <a:srgbClr val="CD145F"/>
      </a:accent3>
      <a:accent4>
        <a:srgbClr val="F0468C"/>
      </a:accent4>
      <a:accent5>
        <a:srgbClr val="F587B4"/>
      </a:accent5>
      <a:accent6>
        <a:srgbClr val="FFB9DC"/>
      </a:accent6>
      <a:hlink>
        <a:srgbClr val="CD145F"/>
      </a:hlink>
      <a:folHlink>
        <a:srgbClr val="CD145F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AFCE587C-32F4-2348-8B12-663C84BF959A}"/>
    </a:ext>
  </a:extLst>
</a:theme>
</file>

<file path=ppt/theme/theme2.xml><?xml version="1.0" encoding="utf-8"?>
<a:theme xmlns:a="http://schemas.openxmlformats.org/drawingml/2006/main" name="GLOBAL TEMPLATE 2017 (CORE RED)">
  <a:themeElements>
    <a:clrScheme name="CORE RED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691419"/>
      </a:accent1>
      <a:accent2>
        <a:srgbClr val="A01923"/>
      </a:accent2>
      <a:accent3>
        <a:srgbClr val="D72332"/>
      </a:accent3>
      <a:accent4>
        <a:srgbClr val="E6646E"/>
      </a:accent4>
      <a:accent5>
        <a:srgbClr val="EB9196"/>
      </a:accent5>
      <a:accent6>
        <a:srgbClr val="F5C3C8"/>
      </a:accent6>
      <a:hlink>
        <a:srgbClr val="D72332"/>
      </a:hlink>
      <a:folHlink>
        <a:srgbClr val="D72332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1A6E5390-A284-7E41-91FC-63E9D6812D0F}"/>
    </a:ext>
  </a:extLst>
</a:theme>
</file>

<file path=ppt/theme/theme3.xml><?xml version="1.0" encoding="utf-8"?>
<a:theme xmlns:a="http://schemas.openxmlformats.org/drawingml/2006/main" name="GLOBAL TEMPLATE 2017 (SOLAR GOLD)">
  <a:themeElements>
    <a:clrScheme name="SOLAR GOLD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8C4600"/>
      </a:accent1>
      <a:accent2>
        <a:srgbClr val="CD7800"/>
      </a:accent2>
      <a:accent3>
        <a:srgbClr val="FFAF14"/>
      </a:accent3>
      <a:accent4>
        <a:srgbClr val="FFC35A"/>
      </a:accent4>
      <a:accent5>
        <a:srgbClr val="FFD278"/>
      </a:accent5>
      <a:accent6>
        <a:srgbClr val="FFE1AF"/>
      </a:accent6>
      <a:hlink>
        <a:srgbClr val="FFAF14"/>
      </a:hlink>
      <a:folHlink>
        <a:srgbClr val="FFAF14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C4510F79-3E07-7A40-9FDA-483AE3ED4F3D}"/>
    </a:ext>
  </a:extLst>
</a:theme>
</file>

<file path=ppt/theme/theme4.xml><?xml version="1.0" encoding="utf-8"?>
<a:theme xmlns:a="http://schemas.openxmlformats.org/drawingml/2006/main" name="GLOBAL TEMPLATE 2017 (CORE GREEN)">
  <a:themeElements>
    <a:clrScheme name="CORE GREEN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54637"/>
      </a:accent1>
      <a:accent2>
        <a:srgbClr val="0A6E50"/>
      </a:accent2>
      <a:accent3>
        <a:srgbClr val="0F9169"/>
      </a:accent3>
      <a:accent4>
        <a:srgbClr val="32D7A5"/>
      </a:accent4>
      <a:accent5>
        <a:srgbClr val="82E6CD"/>
      </a:accent5>
      <a:accent6>
        <a:srgbClr val="B4F0DC"/>
      </a:accent6>
      <a:hlink>
        <a:srgbClr val="0F9169"/>
      </a:hlink>
      <a:folHlink>
        <a:srgbClr val="0F9169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502F0011-7AC5-7E44-BB9B-EFC37D731C97}"/>
    </a:ext>
  </a:extLst>
</a:theme>
</file>

<file path=ppt/theme/theme5.xml><?xml version="1.0" encoding="utf-8"?>
<a:theme xmlns:a="http://schemas.openxmlformats.org/drawingml/2006/main" name="GLOBAL TEMPLATE 2017 (TEAL)">
  <a:themeElements>
    <a:clrScheme name="TEAL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F504B"/>
      </a:accent1>
      <a:accent2>
        <a:srgbClr val="198C82"/>
      </a:accent2>
      <a:accent3>
        <a:srgbClr val="2DD7C3"/>
      </a:accent3>
      <a:accent4>
        <a:srgbClr val="64E1D7"/>
      </a:accent4>
      <a:accent5>
        <a:srgbClr val="91EBE1"/>
      </a:accent5>
      <a:accent6>
        <a:srgbClr val="B4F0EB"/>
      </a:accent6>
      <a:hlink>
        <a:srgbClr val="2DD7C3"/>
      </a:hlink>
      <a:folHlink>
        <a:srgbClr val="2DD7C3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CD799768-5690-0F4C-A976-2307A4387DAB}"/>
    </a:ext>
  </a:extLst>
</a:theme>
</file>

<file path=ppt/theme/theme6.xml><?xml version="1.0" encoding="utf-8"?>
<a:theme xmlns:a="http://schemas.openxmlformats.org/drawingml/2006/main" name="GLOBAL TEMPLATE 2017 (LIGHT BLUE)">
  <a:themeElements>
    <a:clrScheme name="LIGHT BLUE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F5A73"/>
      </a:accent1>
      <a:accent2>
        <a:srgbClr val="1987AA"/>
      </a:accent2>
      <a:accent3>
        <a:srgbClr val="5AC3E6"/>
      </a:accent3>
      <a:accent4>
        <a:srgbClr val="8CD7F0"/>
      </a:accent4>
      <a:accent5>
        <a:srgbClr val="AFE1F5"/>
      </a:accent5>
      <a:accent6>
        <a:srgbClr val="CDEBF5"/>
      </a:accent6>
      <a:hlink>
        <a:srgbClr val="5AC3E6"/>
      </a:hlink>
      <a:folHlink>
        <a:srgbClr val="5AC3E6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8EAAA618-248A-DD4A-902D-3D8D9AF8B9F5}"/>
    </a:ext>
  </a:extLst>
</a:theme>
</file>

<file path=ppt/theme/theme7.xml><?xml version="1.0" encoding="utf-8"?>
<a:theme xmlns:a="http://schemas.openxmlformats.org/drawingml/2006/main" name="GLOBAL TEMPLATE 2017 (ENERGY INK)">
  <a:themeElements>
    <a:clrScheme name="ENERGY INK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8278BE"/>
      </a:hlink>
      <a:folHlink>
        <a:srgbClr val="8278BE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29F153E8-F82E-D241-85C6-CE3D8AFA8336}"/>
    </a:ext>
  </a:extLst>
</a:theme>
</file>

<file path=ppt/theme/theme8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 new">
      <a:majorFont>
        <a:latin typeface="adiText Black Beta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">
      <a:majorFont>
        <a:latin typeface="adineue PRO TT Black"/>
        <a:ea typeface=""/>
        <a:cs typeface=""/>
      </a:majorFont>
      <a:minorFont>
        <a:latin typeface="adiText Light Bet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LOBAL TEMPLATE 2017 (BOLD PINK)</Template>
  <TotalTime>1843</TotalTime>
  <Words>256</Words>
  <Application>Microsoft Office PowerPoint</Application>
  <PresentationFormat>Personalizado</PresentationFormat>
  <Paragraphs>74</Paragraphs>
  <Slides>16</Slides>
  <Notes>8</Notes>
  <HiddenSlides>0</HiddenSlides>
  <MMClips>0</MMClips>
  <ScaleCrop>false</ScaleCrop>
  <HeadingPairs>
    <vt:vector size="8" baseType="variant">
      <vt:variant>
        <vt:lpstr>Fuentes usadas</vt:lpstr>
      </vt:variant>
      <vt:variant>
        <vt:i4>14</vt:i4>
      </vt:variant>
      <vt:variant>
        <vt:lpstr>Tema</vt:lpstr>
      </vt:variant>
      <vt:variant>
        <vt:i4>7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6</vt:i4>
      </vt:variant>
    </vt:vector>
  </HeadingPairs>
  <TitlesOfParts>
    <vt:vector size="38" baseType="lpstr">
      <vt:lpstr>AdihausDIN</vt:lpstr>
      <vt:lpstr>adineue PRO</vt:lpstr>
      <vt:lpstr>adineue PRO Black</vt:lpstr>
      <vt:lpstr>adineue PRO Light</vt:lpstr>
      <vt:lpstr>adineue PRO TT</vt:lpstr>
      <vt:lpstr>adineue PRO TT Black</vt:lpstr>
      <vt:lpstr>adineue PRO TT Light</vt:lpstr>
      <vt:lpstr>adineue TEXT Black</vt:lpstr>
      <vt:lpstr>adineue TEXT Light</vt:lpstr>
      <vt:lpstr>adiText Light Beta</vt:lpstr>
      <vt:lpstr>Arial</vt:lpstr>
      <vt:lpstr>Calibri</vt:lpstr>
      <vt:lpstr>Calibri Light</vt:lpstr>
      <vt:lpstr>Wingdings</vt:lpstr>
      <vt:lpstr>GLOBAL TEMPLATE 2017 (BOLD PINK)</vt:lpstr>
      <vt:lpstr>GLOBAL TEMPLATE 2017 (CORE RED)</vt:lpstr>
      <vt:lpstr>GLOBAL TEMPLATE 2017 (SOLAR GOLD)</vt:lpstr>
      <vt:lpstr>GLOBAL TEMPLATE 2017 (CORE GREEN)</vt:lpstr>
      <vt:lpstr>GLOBAL TEMPLATE 2017 (TEAL)</vt:lpstr>
      <vt:lpstr>GLOBAL TEMPLATE 2017 (LIGHT BLUE)</vt:lpstr>
      <vt:lpstr>GLOBAL TEMPLATE 2017 (ENERGY INK)</vt:lpstr>
      <vt:lpstr>think-cell Slide</vt:lpstr>
      <vt:lpstr>NO name</vt:lpstr>
      <vt:lpstr>MIEMBROS DEL EQUIPO</vt:lpstr>
      <vt:lpstr>AGENDA</vt:lpstr>
      <vt:lpstr>EVOLUCIóN DEL DEPORTE</vt:lpstr>
      <vt:lpstr>Presentación de PowerPoint</vt:lpstr>
      <vt:lpstr>Valor</vt:lpstr>
      <vt:lpstr>Dem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remember</vt:lpstr>
      <vt:lpstr>ShoW</vt:lpstr>
      <vt:lpstr>Judging criteria</vt:lpstr>
      <vt:lpstr>rul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TEMPLATE</dc:title>
  <dc:creator>Frechoso, Javier</dc:creator>
  <cp:lastModifiedBy>carmelo miralles</cp:lastModifiedBy>
  <cp:revision>155</cp:revision>
  <cp:lastPrinted>2015-05-04T06:43:15Z</cp:lastPrinted>
  <dcterms:created xsi:type="dcterms:W3CDTF">2019-03-09T19:27:14Z</dcterms:created>
  <dcterms:modified xsi:type="dcterms:W3CDTF">2019-03-24T01:06:02Z</dcterms:modified>
  <dc:language>English-UK</dc:language>
</cp:coreProperties>
</file>